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5"/>
    <p:sldMasterId id="2147483686" r:id="rId6"/>
  </p:sldMasterIdLst>
  <p:notesMasterIdLst>
    <p:notesMasterId r:id="rId31"/>
  </p:notesMasterIdLst>
  <p:handoutMasterIdLst>
    <p:handoutMasterId r:id="rId32"/>
  </p:handoutMasterIdLst>
  <p:sldIdLst>
    <p:sldId id="262" r:id="rId7"/>
    <p:sldId id="4034" r:id="rId8"/>
    <p:sldId id="263" r:id="rId9"/>
    <p:sldId id="4006" r:id="rId10"/>
    <p:sldId id="267" r:id="rId11"/>
    <p:sldId id="4041" r:id="rId12"/>
    <p:sldId id="4008" r:id="rId13"/>
    <p:sldId id="4000" r:id="rId14"/>
    <p:sldId id="4004" r:id="rId15"/>
    <p:sldId id="4045" r:id="rId16"/>
    <p:sldId id="4030" r:id="rId17"/>
    <p:sldId id="4022" r:id="rId18"/>
    <p:sldId id="4027" r:id="rId19"/>
    <p:sldId id="282" r:id="rId20"/>
    <p:sldId id="4042" r:id="rId21"/>
    <p:sldId id="4038" r:id="rId22"/>
    <p:sldId id="4039" r:id="rId23"/>
    <p:sldId id="4043" r:id="rId24"/>
    <p:sldId id="4037" r:id="rId25"/>
    <p:sldId id="257" r:id="rId26"/>
    <p:sldId id="4044" r:id="rId27"/>
    <p:sldId id="4036" r:id="rId28"/>
    <p:sldId id="258" r:id="rId29"/>
    <p:sldId id="4016" r:id="rId30"/>
  </p:sldIdLst>
  <p:sldSz cx="9144000" cy="6858000" type="screen4x3"/>
  <p:notesSz cx="6858000" cy="9144000"/>
  <p:custDataLst>
    <p:custData r:id="rId4"/>
    <p:tags r:id="rId3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5ED0D01-AC6E-0971-7796-2A663E229056}" name="GHALI TAOUSSI" initials="GT" userId="S::ghali.taoussi@studbocconi.it::4982e75e-5227-4ffd-a4ec-b25cbad01970" providerId="AD"/>
  <p188:author id="{ED25920B-645E-C330-A30E-8211C3D19F89}" name="ARIANNA SOSSI" initials="AS" userId="S::arianna.sossi@studbocconi.it::b49d6aa8-8d13-44a9-9eec-7a0e732bafb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927"/>
    <p:restoredTop sz="91463"/>
  </p:normalViewPr>
  <p:slideViewPr>
    <p:cSldViewPr snapToGrid="0">
      <p:cViewPr varScale="1">
        <p:scale>
          <a:sx n="103" d="100"/>
          <a:sy n="103" d="100"/>
        </p:scale>
        <p:origin x="464" y="18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A5348727-C9FE-E64F-A81C-9DEE64F2670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a:extLst>
              <a:ext uri="{FF2B5EF4-FFF2-40B4-BE49-F238E27FC236}">
                <a16:creationId xmlns:a16="http://schemas.microsoft.com/office/drawing/2014/main" id="{06D44375-F91C-834A-A7F4-BA86F7E73A1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90C3EDA-9C4A-414C-B7D2-B1D7C75509DA}" type="datetimeFigureOut">
              <a:rPr lang="it-IT" smtClean="0"/>
              <a:t>21/11/24</a:t>
            </a:fld>
            <a:endParaRPr lang="it-IT"/>
          </a:p>
        </p:txBody>
      </p:sp>
      <p:sp>
        <p:nvSpPr>
          <p:cNvPr id="4" name="Segnaposto piè di pagina 3">
            <a:extLst>
              <a:ext uri="{FF2B5EF4-FFF2-40B4-BE49-F238E27FC236}">
                <a16:creationId xmlns:a16="http://schemas.microsoft.com/office/drawing/2014/main" id="{3F444573-BAEA-6E49-8785-FA6AE35F3B1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a:extLst>
              <a:ext uri="{FF2B5EF4-FFF2-40B4-BE49-F238E27FC236}">
                <a16:creationId xmlns:a16="http://schemas.microsoft.com/office/drawing/2014/main" id="{8879E5DD-0447-AB4A-91B6-83004D40C32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C08D06E-E35A-0643-A4E3-A372630BD20A}" type="slidenum">
              <a:rPr lang="it-IT" smtClean="0"/>
              <a:t>‹#›</a:t>
            </a:fld>
            <a:endParaRPr lang="it-IT"/>
          </a:p>
        </p:txBody>
      </p:sp>
    </p:spTree>
    <p:extLst>
      <p:ext uri="{BB962C8B-B14F-4D97-AF65-F5344CB8AC3E}">
        <p14:creationId xmlns:p14="http://schemas.microsoft.com/office/powerpoint/2010/main" val="31453365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89DE36-0175-487E-BC94-E3C0A6B5505F}" type="datetimeFigureOut">
              <a:rPr lang="en-US" smtClean="0"/>
              <a:t>11/21/24</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A2B177-84A9-492E-B970-24260DFF3718}" type="slidenum">
              <a:rPr lang="en-US" smtClean="0"/>
              <a:t>‹#›</a:t>
            </a:fld>
            <a:endParaRPr lang="en-US"/>
          </a:p>
        </p:txBody>
      </p:sp>
    </p:spTree>
    <p:extLst>
      <p:ext uri="{BB962C8B-B14F-4D97-AF65-F5344CB8AC3E}">
        <p14:creationId xmlns:p14="http://schemas.microsoft.com/office/powerpoint/2010/main" val="16510531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MA"/>
          </a:p>
        </p:txBody>
      </p:sp>
      <p:sp>
        <p:nvSpPr>
          <p:cNvPr id="4" name="Slide Number Placeholder 3"/>
          <p:cNvSpPr>
            <a:spLocks noGrp="1"/>
          </p:cNvSpPr>
          <p:nvPr>
            <p:ph type="sldNum" sz="quarter" idx="5"/>
          </p:nvPr>
        </p:nvSpPr>
        <p:spPr/>
        <p:txBody>
          <a:bodyPr/>
          <a:lstStyle/>
          <a:p>
            <a:fld id="{45A2B177-84A9-492E-B970-24260DFF3718}" type="slidenum">
              <a:rPr lang="en-US" smtClean="0"/>
              <a:t>2</a:t>
            </a:fld>
            <a:endParaRPr lang="en-US"/>
          </a:p>
        </p:txBody>
      </p:sp>
    </p:spTree>
    <p:extLst>
      <p:ext uri="{BB962C8B-B14F-4D97-AF65-F5344CB8AC3E}">
        <p14:creationId xmlns:p14="http://schemas.microsoft.com/office/powerpoint/2010/main" val="4072529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1483EB-A858-85A8-CA3E-E86AE84CFF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D9A355-9465-277E-AA07-FFB7107E7E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5C17C1-586B-F84B-A366-446F5A890B2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7C9E06D-23DE-2A60-DC2B-1E5284AC36A2}"/>
              </a:ext>
            </a:extLst>
          </p:cNvPr>
          <p:cNvSpPr>
            <a:spLocks noGrp="1"/>
          </p:cNvSpPr>
          <p:nvPr>
            <p:ph type="sldNum" sz="quarter" idx="5"/>
          </p:nvPr>
        </p:nvSpPr>
        <p:spPr/>
        <p:txBody>
          <a:bodyPr/>
          <a:lstStyle/>
          <a:p>
            <a:fld id="{25B8D567-3D1F-254E-AAFE-355020298725}" type="slidenum">
              <a:rPr lang="en-US" smtClean="0"/>
              <a:t>23</a:t>
            </a:fld>
            <a:endParaRPr lang="en-US"/>
          </a:p>
        </p:txBody>
      </p:sp>
    </p:spTree>
    <p:extLst>
      <p:ext uri="{BB962C8B-B14F-4D97-AF65-F5344CB8AC3E}">
        <p14:creationId xmlns:p14="http://schemas.microsoft.com/office/powerpoint/2010/main" val="1367684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4"/>
        <p:cNvGrpSpPr/>
        <p:nvPr/>
      </p:nvGrpSpPr>
      <p:grpSpPr>
        <a:xfrm>
          <a:off x="0" y="0"/>
          <a:ext cx="0" cy="0"/>
          <a:chOff x="0" y="0"/>
          <a:chExt cx="0" cy="0"/>
        </a:xfrm>
      </p:grpSpPr>
      <p:sp>
        <p:nvSpPr>
          <p:cNvPr id="545" name="Google Shape;545;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46" name="Google Shape;546;p8: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T" dirty="0"/>
          </a:p>
        </p:txBody>
      </p:sp>
      <p:sp>
        <p:nvSpPr>
          <p:cNvPr id="4" name="Slide Number Placeholder 3"/>
          <p:cNvSpPr>
            <a:spLocks noGrp="1"/>
          </p:cNvSpPr>
          <p:nvPr>
            <p:ph type="sldNum" sz="quarter" idx="5"/>
          </p:nvPr>
        </p:nvSpPr>
        <p:spPr/>
        <p:txBody>
          <a:bodyPr/>
          <a:lstStyle/>
          <a:p>
            <a:fld id="{45A2B177-84A9-492E-B970-24260DFF3718}" type="slidenum">
              <a:rPr lang="en-US" smtClean="0"/>
              <a:t>13</a:t>
            </a:fld>
            <a:endParaRPr lang="en-US"/>
          </a:p>
        </p:txBody>
      </p:sp>
    </p:spTree>
    <p:extLst>
      <p:ext uri="{BB962C8B-B14F-4D97-AF65-F5344CB8AC3E}">
        <p14:creationId xmlns:p14="http://schemas.microsoft.com/office/powerpoint/2010/main" val="3334838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5A2B177-84A9-492E-B970-24260DFF3718}" type="slidenum">
              <a:rPr lang="en-US" smtClean="0"/>
              <a:t>14</a:t>
            </a:fld>
            <a:endParaRPr lang="en-US"/>
          </a:p>
        </p:txBody>
      </p:sp>
    </p:spTree>
    <p:extLst>
      <p:ext uri="{BB962C8B-B14F-4D97-AF65-F5344CB8AC3E}">
        <p14:creationId xmlns:p14="http://schemas.microsoft.com/office/powerpoint/2010/main" val="3810366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T" dirty="0"/>
          </a:p>
        </p:txBody>
      </p:sp>
      <p:sp>
        <p:nvSpPr>
          <p:cNvPr id="4" name="Slide Number Placeholder 3"/>
          <p:cNvSpPr>
            <a:spLocks noGrp="1"/>
          </p:cNvSpPr>
          <p:nvPr>
            <p:ph type="sldNum" sz="quarter" idx="5"/>
          </p:nvPr>
        </p:nvSpPr>
        <p:spPr/>
        <p:txBody>
          <a:bodyPr/>
          <a:lstStyle/>
          <a:p>
            <a:fld id="{45A2B177-84A9-492E-B970-24260DFF3718}" type="slidenum">
              <a:rPr lang="en-US" smtClean="0"/>
              <a:t>16</a:t>
            </a:fld>
            <a:endParaRPr lang="en-US"/>
          </a:p>
        </p:txBody>
      </p:sp>
    </p:spTree>
    <p:extLst>
      <p:ext uri="{BB962C8B-B14F-4D97-AF65-F5344CB8AC3E}">
        <p14:creationId xmlns:p14="http://schemas.microsoft.com/office/powerpoint/2010/main" val="32901527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T" dirty="0"/>
          </a:p>
        </p:txBody>
      </p:sp>
      <p:sp>
        <p:nvSpPr>
          <p:cNvPr id="4" name="Slide Number Placeholder 3"/>
          <p:cNvSpPr>
            <a:spLocks noGrp="1"/>
          </p:cNvSpPr>
          <p:nvPr>
            <p:ph type="sldNum" sz="quarter" idx="5"/>
          </p:nvPr>
        </p:nvSpPr>
        <p:spPr/>
        <p:txBody>
          <a:bodyPr/>
          <a:lstStyle/>
          <a:p>
            <a:fld id="{45A2B177-84A9-492E-B970-24260DFF3718}" type="slidenum">
              <a:rPr lang="en-US" smtClean="0"/>
              <a:t>17</a:t>
            </a:fld>
            <a:endParaRPr lang="en-US"/>
          </a:p>
        </p:txBody>
      </p:sp>
    </p:spTree>
    <p:extLst>
      <p:ext uri="{BB962C8B-B14F-4D97-AF65-F5344CB8AC3E}">
        <p14:creationId xmlns:p14="http://schemas.microsoft.com/office/powerpoint/2010/main" val="34060076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5B8D567-3D1F-254E-AAFE-355020298725}" type="slidenum">
              <a:rPr lang="en-US" smtClean="0"/>
              <a:t>19</a:t>
            </a:fld>
            <a:endParaRPr lang="en-US"/>
          </a:p>
        </p:txBody>
      </p:sp>
    </p:spTree>
    <p:extLst>
      <p:ext uri="{BB962C8B-B14F-4D97-AF65-F5344CB8AC3E}">
        <p14:creationId xmlns:p14="http://schemas.microsoft.com/office/powerpoint/2010/main" val="26749839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5B8D567-3D1F-254E-AAFE-355020298725}" type="slidenum">
              <a:rPr lang="en-US" smtClean="0"/>
              <a:t>20</a:t>
            </a:fld>
            <a:endParaRPr lang="en-US"/>
          </a:p>
        </p:txBody>
      </p:sp>
    </p:spTree>
    <p:extLst>
      <p:ext uri="{BB962C8B-B14F-4D97-AF65-F5344CB8AC3E}">
        <p14:creationId xmlns:p14="http://schemas.microsoft.com/office/powerpoint/2010/main" val="11153037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5B8D567-3D1F-254E-AAFE-355020298725}" type="slidenum">
              <a:rPr lang="en-US" smtClean="0"/>
              <a:t>22</a:t>
            </a:fld>
            <a:endParaRPr lang="en-US"/>
          </a:p>
        </p:txBody>
      </p:sp>
    </p:spTree>
    <p:extLst>
      <p:ext uri="{BB962C8B-B14F-4D97-AF65-F5344CB8AC3E}">
        <p14:creationId xmlns:p14="http://schemas.microsoft.com/office/powerpoint/2010/main" val="28805110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hyperlink" Target="http://www.bsfintechsociety.com/" TargetMode="External"/><Relationship Id="rId3" Type="http://schemas.openxmlformats.org/officeDocument/2006/relationships/hyperlink" Target="https://www.instagram.com/bocconistudentsfintechsociety/" TargetMode="External"/><Relationship Id="rId7" Type="http://schemas.openxmlformats.org/officeDocument/2006/relationships/hyperlink" Target="https://www.bsfintechsociety.com/" TargetMode="External"/><Relationship Id="rId12" Type="http://schemas.openxmlformats.org/officeDocument/2006/relationships/image" Target="../media/image3.tiff"/><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image" Target="../media/image8.png"/><Relationship Id="rId5" Type="http://schemas.openxmlformats.org/officeDocument/2006/relationships/hyperlink" Target="https://www.linkedin.com/company/bsfintechsociety/" TargetMode="External"/><Relationship Id="rId10" Type="http://schemas.openxmlformats.org/officeDocument/2006/relationships/hyperlink" Target="mailto:as.bsfintechsociety@unibocconi.it" TargetMode="External"/><Relationship Id="rId4" Type="http://schemas.openxmlformats.org/officeDocument/2006/relationships/image" Target="../media/image9.png"/><Relationship Id="rId9" Type="http://schemas.openxmlformats.org/officeDocument/2006/relationships/image" Target="../media/image1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hyperlink" Target="http://www.bsfintechsociety.com/" TargetMode="External"/><Relationship Id="rId3" Type="http://schemas.openxmlformats.org/officeDocument/2006/relationships/hyperlink" Target="https://www.instagram.com/bocconistudentsfintechsociety/" TargetMode="External"/><Relationship Id="rId7" Type="http://schemas.openxmlformats.org/officeDocument/2006/relationships/hyperlink" Target="https://www.bsfintechsociety.com/" TargetMode="External"/><Relationship Id="rId12" Type="http://schemas.openxmlformats.org/officeDocument/2006/relationships/image" Target="../media/image3.tiff"/><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image" Target="../media/image8.png"/><Relationship Id="rId5" Type="http://schemas.openxmlformats.org/officeDocument/2006/relationships/hyperlink" Target="https://www.linkedin.com/company/bsfintechsociety/" TargetMode="External"/><Relationship Id="rId10" Type="http://schemas.openxmlformats.org/officeDocument/2006/relationships/hyperlink" Target="mailto:as.bsfintechsociety@unibocconi.it" TargetMode="External"/><Relationship Id="rId4" Type="http://schemas.openxmlformats.org/officeDocument/2006/relationships/image" Target="../media/image9.png"/><Relationship Id="rId9" Type="http://schemas.openxmlformats.org/officeDocument/2006/relationships/image" Target="../media/image11.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hyperlink" Target="http://www.bsfintechsociety.com/" TargetMode="External"/><Relationship Id="rId3" Type="http://schemas.openxmlformats.org/officeDocument/2006/relationships/hyperlink" Target="https://www.instagram.com/bocconistudentsfintechsociety/" TargetMode="External"/><Relationship Id="rId7" Type="http://schemas.openxmlformats.org/officeDocument/2006/relationships/hyperlink" Target="https://www.bsfintechsociety.com/" TargetMode="External"/><Relationship Id="rId12" Type="http://schemas.openxmlformats.org/officeDocument/2006/relationships/image" Target="../media/image3.tiff"/><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image" Target="../media/image8.png"/><Relationship Id="rId5" Type="http://schemas.openxmlformats.org/officeDocument/2006/relationships/hyperlink" Target="https://www.linkedin.com/company/bsfintechsociety/" TargetMode="External"/><Relationship Id="rId10" Type="http://schemas.openxmlformats.org/officeDocument/2006/relationships/hyperlink" Target="mailto:as.bsfintechsociety@unibocconi.it" TargetMode="External"/><Relationship Id="rId4" Type="http://schemas.openxmlformats.org/officeDocument/2006/relationships/image" Target="../media/image5.png"/><Relationship Id="rId9"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1" name="Picture 10" descr="A picture containing building, stadium, spaghetti junction, colonnade&#10;&#10;Description automatically generated">
            <a:extLst>
              <a:ext uri="{FF2B5EF4-FFF2-40B4-BE49-F238E27FC236}">
                <a16:creationId xmlns:a16="http://schemas.microsoft.com/office/drawing/2014/main" id="{692E213D-91EC-48F2-BC67-1500BB9D924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0"/>
            <a:ext cx="9144000" cy="6857998"/>
          </a:xfrm>
          <a:prstGeom prst="rect">
            <a:avLst/>
          </a:prstGeom>
        </p:spPr>
      </p:pic>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C8642B63-6BE0-4AE6-B66C-EEB4E381A980}" type="datetime4">
              <a:rPr lang="en-US" smtClean="0"/>
              <a:pPr/>
              <a:t>November 21, 2024</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Footer</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330EA680-D336-4FF7-8B7A-9848BB0A1C32}" type="slidenum">
              <a:rPr lang="en-US" smtClean="0"/>
              <a:pPr/>
              <a:t>‹#›</a:t>
            </a:fld>
            <a:endParaRPr lang="en-US"/>
          </a:p>
        </p:txBody>
      </p:sp>
      <p:sp>
        <p:nvSpPr>
          <p:cNvPr id="9" name="Rectangle 8">
            <a:extLst>
              <a:ext uri="{FF2B5EF4-FFF2-40B4-BE49-F238E27FC236}">
                <a16:creationId xmlns:a16="http://schemas.microsoft.com/office/drawing/2014/main" id="{9F5B5372-3DF2-4209-92D2-119050B50D1B}"/>
              </a:ext>
            </a:extLst>
          </p:cNvPr>
          <p:cNvSpPr/>
          <p:nvPr userDrawn="1"/>
        </p:nvSpPr>
        <p:spPr>
          <a:xfrm>
            <a:off x="2" y="1"/>
            <a:ext cx="9143998" cy="6857999"/>
          </a:xfrm>
          <a:prstGeom prst="rect">
            <a:avLst/>
          </a:prstGeom>
          <a:solidFill>
            <a:srgbClr val="000000">
              <a:alpha val="69804"/>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None/>
            </a:pPr>
            <a:endParaRPr lang="en-GB" sz="3600">
              <a:solidFill>
                <a:schemeClr val="bg1"/>
              </a:solidFill>
              <a:ea typeface="Roboto"/>
              <a:cs typeface="Roboto"/>
              <a:sym typeface="Roboto"/>
            </a:endParaRPr>
          </a:p>
        </p:txBody>
      </p:sp>
      <p:sp>
        <p:nvSpPr>
          <p:cNvPr id="10" name="TextBox 9">
            <a:extLst>
              <a:ext uri="{FF2B5EF4-FFF2-40B4-BE49-F238E27FC236}">
                <a16:creationId xmlns:a16="http://schemas.microsoft.com/office/drawing/2014/main" id="{C6B4ABA9-0C0F-49A1-8DA2-6E75AC887514}"/>
              </a:ext>
            </a:extLst>
          </p:cNvPr>
          <p:cNvSpPr txBox="1"/>
          <p:nvPr userDrawn="1"/>
        </p:nvSpPr>
        <p:spPr>
          <a:xfrm>
            <a:off x="334943" y="917062"/>
            <a:ext cx="5596404" cy="1569660"/>
          </a:xfrm>
          <a:prstGeom prst="rect">
            <a:avLst/>
          </a:prstGeom>
          <a:noFill/>
        </p:spPr>
        <p:txBody>
          <a:bodyPr wrap="none" rtlCol="0">
            <a:spAutoFit/>
          </a:bodyPr>
          <a:lstStyle/>
          <a:p>
            <a:r>
              <a:rPr lang="en-US" sz="4800" b="1">
                <a:solidFill>
                  <a:schemeClr val="accent1"/>
                </a:solidFill>
                <a:latin typeface="Arial" panose="020B0604020202020204" pitchFamily="34" charset="0"/>
                <a:cs typeface="Arial" panose="020B0604020202020204" pitchFamily="34" charset="0"/>
              </a:rPr>
              <a:t>Bocconi Students </a:t>
            </a:r>
          </a:p>
          <a:p>
            <a:r>
              <a:rPr lang="en-US" sz="4800" b="1">
                <a:solidFill>
                  <a:schemeClr val="accent1"/>
                </a:solidFill>
                <a:latin typeface="Arial" panose="020B0604020202020204" pitchFamily="34" charset="0"/>
                <a:cs typeface="Arial" panose="020B0604020202020204" pitchFamily="34" charset="0"/>
              </a:rPr>
              <a:t>Fintech Society</a:t>
            </a:r>
            <a:endParaRPr lang="en-CH" sz="4800" b="1">
              <a:solidFill>
                <a:schemeClr val="accent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5BF8CB50-C483-4EEB-99FF-01A56CA20B83}"/>
              </a:ext>
            </a:extLst>
          </p:cNvPr>
          <p:cNvSpPr txBox="1"/>
          <p:nvPr userDrawn="1"/>
        </p:nvSpPr>
        <p:spPr>
          <a:xfrm>
            <a:off x="5540233" y="6216028"/>
            <a:ext cx="3121304" cy="369332"/>
          </a:xfrm>
          <a:prstGeom prst="rect">
            <a:avLst/>
          </a:prstGeom>
          <a:noFill/>
        </p:spPr>
        <p:txBody>
          <a:bodyPr wrap="none" rtlCol="0">
            <a:spAutoFit/>
          </a:bodyPr>
          <a:lstStyle/>
          <a:p>
            <a:r>
              <a:rPr lang="en-US" b="1">
                <a:solidFill>
                  <a:schemeClr val="accent1"/>
                </a:solidFill>
                <a:latin typeface="Arial" panose="020B0604020202020204" pitchFamily="34" charset="0"/>
                <a:cs typeface="Arial" panose="020B0604020202020204" pitchFamily="34" charset="0"/>
              </a:rPr>
              <a:t>www.bsfintechsociety.com</a:t>
            </a:r>
            <a:endParaRPr lang="en-CH" b="1">
              <a:solidFill>
                <a:schemeClr val="accent1"/>
              </a:solidFill>
              <a:latin typeface="Arial" panose="020B0604020202020204" pitchFamily="34" charset="0"/>
              <a:cs typeface="Arial" panose="020B0604020202020204" pitchFamily="34" charset="0"/>
            </a:endParaRPr>
          </a:p>
        </p:txBody>
      </p:sp>
      <p:sp>
        <p:nvSpPr>
          <p:cNvPr id="8" name="Text Placeholder 7">
            <a:extLst>
              <a:ext uri="{FF2B5EF4-FFF2-40B4-BE49-F238E27FC236}">
                <a16:creationId xmlns:a16="http://schemas.microsoft.com/office/drawing/2014/main" id="{95F5D2D1-C348-4FF6-B5B3-C53D99B9A275}"/>
              </a:ext>
            </a:extLst>
          </p:cNvPr>
          <p:cNvSpPr>
            <a:spLocks noGrp="1"/>
          </p:cNvSpPr>
          <p:nvPr>
            <p:ph type="body" sz="quarter" idx="13" hasCustomPrompt="1"/>
          </p:nvPr>
        </p:nvSpPr>
        <p:spPr>
          <a:xfrm>
            <a:off x="357188" y="2500313"/>
            <a:ext cx="5586412" cy="648468"/>
          </a:xfrm>
        </p:spPr>
        <p:txBody>
          <a:bodyPr>
            <a:normAutofit/>
          </a:bodyPr>
          <a:lstStyle>
            <a:lvl1pPr marL="0" indent="0">
              <a:buNone/>
              <a:defRPr sz="1800" b="1">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en-US"/>
              <a:t>xxx</a:t>
            </a:r>
            <a:endParaRPr lang="en-CH"/>
          </a:p>
        </p:txBody>
      </p:sp>
      <p:pic>
        <p:nvPicPr>
          <p:cNvPr id="2" name="Immagine 1">
            <a:extLst>
              <a:ext uri="{FF2B5EF4-FFF2-40B4-BE49-F238E27FC236}">
                <a16:creationId xmlns:a16="http://schemas.microsoft.com/office/drawing/2014/main" id="{C83F8B14-51DA-C14C-BAB3-E1AB0AF94E6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91065" y="301881"/>
            <a:ext cx="838001" cy="622515"/>
          </a:xfrm>
          <a:prstGeom prst="rect">
            <a:avLst/>
          </a:prstGeom>
        </p:spPr>
      </p:pic>
    </p:spTree>
    <p:extLst>
      <p:ext uri="{BB962C8B-B14F-4D97-AF65-F5344CB8AC3E}">
        <p14:creationId xmlns:p14="http://schemas.microsoft.com/office/powerpoint/2010/main" val="1866953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ding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E7DF8-59E0-41D4-AB81-6FD894F5680B}"/>
              </a:ext>
            </a:extLst>
          </p:cNvPr>
          <p:cNvSpPr>
            <a:spLocks noGrp="1"/>
          </p:cNvSpPr>
          <p:nvPr>
            <p:ph type="title"/>
          </p:nvPr>
        </p:nvSpPr>
        <p:spPr/>
        <p:txBody>
          <a:bodyPr/>
          <a:lstStyle/>
          <a:p>
            <a:r>
              <a:rPr lang="en-US"/>
              <a:t>Click to edit Master title style</a:t>
            </a:r>
            <a:endParaRPr lang="en-CH"/>
          </a:p>
        </p:txBody>
      </p:sp>
      <p:sp>
        <p:nvSpPr>
          <p:cNvPr id="3" name="Date Placeholder 2">
            <a:extLst>
              <a:ext uri="{FF2B5EF4-FFF2-40B4-BE49-F238E27FC236}">
                <a16:creationId xmlns:a16="http://schemas.microsoft.com/office/drawing/2014/main" id="{DF9C4A60-D8F6-46DA-B5AB-0E4CAE5BC63A}"/>
              </a:ext>
            </a:extLst>
          </p:cNvPr>
          <p:cNvSpPr>
            <a:spLocks noGrp="1"/>
          </p:cNvSpPr>
          <p:nvPr>
            <p:ph type="dt" sz="half" idx="10"/>
          </p:nvPr>
        </p:nvSpPr>
        <p:spPr/>
        <p:txBody>
          <a:bodyPr/>
          <a:lstStyle/>
          <a:p>
            <a:fld id="{C17419A9-4912-4D42-8F3D-1BD3BA7DCDCB}" type="datetime4">
              <a:rPr lang="en-US" smtClean="0"/>
              <a:pPr/>
              <a:t>November 21, 2024</a:t>
            </a:fld>
            <a:endParaRPr lang="en-US"/>
          </a:p>
        </p:txBody>
      </p:sp>
      <p:sp>
        <p:nvSpPr>
          <p:cNvPr id="4" name="Slide Number Placeholder 3">
            <a:extLst>
              <a:ext uri="{FF2B5EF4-FFF2-40B4-BE49-F238E27FC236}">
                <a16:creationId xmlns:a16="http://schemas.microsoft.com/office/drawing/2014/main" id="{CF5C09D4-9D56-43CC-8467-9570FFD12D6A}"/>
              </a:ext>
            </a:extLst>
          </p:cNvPr>
          <p:cNvSpPr>
            <a:spLocks noGrp="1"/>
          </p:cNvSpPr>
          <p:nvPr>
            <p:ph type="sldNum" sz="quarter" idx="11"/>
          </p:nvPr>
        </p:nvSpPr>
        <p:spPr/>
        <p:txBody>
          <a:bodyPr/>
          <a:lstStyle/>
          <a:p>
            <a:fld id="{89BE3C81-78D6-4C4B-AF0E-1C8704E0A56F}" type="slidenum">
              <a:rPr lang="en-US" smtClean="0"/>
              <a:pPr/>
              <a:t>‹#›</a:t>
            </a:fld>
            <a:endParaRPr lang="en-US"/>
          </a:p>
        </p:txBody>
      </p:sp>
      <p:sp>
        <p:nvSpPr>
          <p:cNvPr id="5" name="Footer Placeholder 4">
            <a:extLst>
              <a:ext uri="{FF2B5EF4-FFF2-40B4-BE49-F238E27FC236}">
                <a16:creationId xmlns:a16="http://schemas.microsoft.com/office/drawing/2014/main" id="{50CCC677-FC1B-444F-9C81-2F6CE62A279F}"/>
              </a:ext>
            </a:extLst>
          </p:cNvPr>
          <p:cNvSpPr>
            <a:spLocks noGrp="1"/>
          </p:cNvSpPr>
          <p:nvPr>
            <p:ph type="ftr" sz="quarter" idx="12"/>
          </p:nvPr>
        </p:nvSpPr>
        <p:spPr/>
        <p:txBody>
          <a:bodyPr/>
          <a:lstStyle/>
          <a:p>
            <a:r>
              <a:rPr lang="en-US"/>
              <a:t>Footer</a:t>
            </a:r>
          </a:p>
        </p:txBody>
      </p:sp>
      <p:pic>
        <p:nvPicPr>
          <p:cNvPr id="1030" name="Picture 6">
            <a:extLst>
              <a:ext uri="{FF2B5EF4-FFF2-40B4-BE49-F238E27FC236}">
                <a16:creationId xmlns:a16="http://schemas.microsoft.com/office/drawing/2014/main" id="{D21A080C-51FA-4DC2-B311-B0C8A1DEBD6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EF9C597F-5807-4C79-A97D-BDA19E4EBA6C}"/>
              </a:ext>
            </a:extLst>
          </p:cNvPr>
          <p:cNvSpPr/>
          <p:nvPr userDrawn="1"/>
        </p:nvSpPr>
        <p:spPr>
          <a:xfrm>
            <a:off x="2" y="1"/>
            <a:ext cx="9143998" cy="6857999"/>
          </a:xfrm>
          <a:prstGeom prst="rect">
            <a:avLst/>
          </a:prstGeom>
          <a:solidFill>
            <a:srgbClr val="000000">
              <a:alpha val="69804"/>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None/>
            </a:pPr>
            <a:endParaRPr lang="en-GB" sz="3600">
              <a:solidFill>
                <a:schemeClr val="bg1"/>
              </a:solidFill>
              <a:ea typeface="Roboto"/>
              <a:cs typeface="Roboto"/>
              <a:sym typeface="Roboto"/>
            </a:endParaRPr>
          </a:p>
        </p:txBody>
      </p:sp>
      <p:sp>
        <p:nvSpPr>
          <p:cNvPr id="13" name="TextBox 12">
            <a:extLst>
              <a:ext uri="{FF2B5EF4-FFF2-40B4-BE49-F238E27FC236}">
                <a16:creationId xmlns:a16="http://schemas.microsoft.com/office/drawing/2014/main" id="{92FC2C2C-C338-4065-AC74-E8C3A4857A25}"/>
              </a:ext>
            </a:extLst>
          </p:cNvPr>
          <p:cNvSpPr txBox="1"/>
          <p:nvPr userDrawn="1"/>
        </p:nvSpPr>
        <p:spPr>
          <a:xfrm>
            <a:off x="5870296" y="5565272"/>
            <a:ext cx="3121304" cy="369332"/>
          </a:xfrm>
          <a:prstGeom prst="rect">
            <a:avLst/>
          </a:prstGeom>
          <a:noFill/>
        </p:spPr>
        <p:txBody>
          <a:bodyPr wrap="none" rtlCol="0">
            <a:spAutoFit/>
          </a:bodyPr>
          <a:lstStyle/>
          <a:p>
            <a:r>
              <a:rPr lang="en-US" b="1">
                <a:solidFill>
                  <a:schemeClr val="accent1"/>
                </a:solidFill>
                <a:latin typeface="Arial" panose="020B0604020202020204" pitchFamily="34" charset="0"/>
                <a:cs typeface="Arial" panose="020B0604020202020204" pitchFamily="34" charset="0"/>
              </a:rPr>
              <a:t>www.bsfintechsociety.com</a:t>
            </a:r>
            <a:endParaRPr lang="en-CH" b="1">
              <a:solidFill>
                <a:schemeClr val="accent1"/>
              </a:solidFill>
              <a:latin typeface="Arial" panose="020B0604020202020204" pitchFamily="34" charset="0"/>
              <a:cs typeface="Arial" panose="020B0604020202020204" pitchFamily="34" charset="0"/>
            </a:endParaRPr>
          </a:p>
        </p:txBody>
      </p:sp>
      <p:sp>
        <p:nvSpPr>
          <p:cNvPr id="17" name="Google Shape;25;p9">
            <a:extLst>
              <a:ext uri="{FF2B5EF4-FFF2-40B4-BE49-F238E27FC236}">
                <a16:creationId xmlns:a16="http://schemas.microsoft.com/office/drawing/2014/main" id="{8AEF8136-3031-44FB-91D9-BC21959EEB44}"/>
              </a:ext>
            </a:extLst>
          </p:cNvPr>
          <p:cNvSpPr txBox="1"/>
          <p:nvPr userDrawn="1"/>
        </p:nvSpPr>
        <p:spPr>
          <a:xfrm>
            <a:off x="155448" y="6075186"/>
            <a:ext cx="8836152" cy="64629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600" b="0" i="0" u="none" strike="noStrike" cap="none">
                <a:solidFill>
                  <a:schemeClr val="accent1"/>
                </a:solidFill>
                <a:latin typeface="Arial"/>
                <a:ea typeface="Arial"/>
                <a:cs typeface="Arial"/>
                <a:sym typeface="Arial"/>
              </a:rPr>
              <a:t>Following presentation may have included forward-looking statements. These statements are not historical facts, but instead represent only our belief regarding future events, many of which, by their nature, are inherently uncertain and outside of our control. It is possible that the Firm’s actual results and financial condition may differ, possibly materially, from the anticipated results and financial condition indicated in these forward-looking statements. These materials are based on information provided by the internet or otherwise reviewed by us. We have assumed that such estimates and forecasts have been reasonably prepared on bases reflecting the best currently available estimates and judgments. These materials are not intended to provide the sole basis for evaluating and should not be considered a recommendation with respect to any transaction or other matter. Prior to entering any transaction you should determine, without reliance on us, the economic risks and merits as well as the legal, tax and accounting characterizations and consequences of any such transaction. These materials do not constitute an offer or solicitation to sell or purchase any securities and are not a commitment by us to provide or arrange any financing for any transaction or to purchase any security in connection therewith. We assume no obligation to update or otherwise revise these materials. </a:t>
            </a:r>
            <a:endParaRPr sz="1100">
              <a:solidFill>
                <a:schemeClr val="accent1"/>
              </a:solidFill>
            </a:endParaRPr>
          </a:p>
        </p:txBody>
      </p:sp>
      <p:pic>
        <p:nvPicPr>
          <p:cNvPr id="14" name="Picture 13" descr="Transparent Background Social Media Icons Vector , Transparent Cartoon -  Jing.fm">
            <a:hlinkClick r:id="rId3"/>
            <a:extLst>
              <a:ext uri="{FF2B5EF4-FFF2-40B4-BE49-F238E27FC236}">
                <a16:creationId xmlns:a16="http://schemas.microsoft.com/office/drawing/2014/main" id="{DEB5736D-AC8C-452D-91F3-FA4C3376CEFB}"/>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1024648" y="1110013"/>
            <a:ext cx="550545" cy="5571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Transparent Background Social Media Icons Vector , Transparent Cartoon -  Jing.fm">
            <a:hlinkClick r:id="rId5"/>
            <a:extLst>
              <a:ext uri="{FF2B5EF4-FFF2-40B4-BE49-F238E27FC236}">
                <a16:creationId xmlns:a16="http://schemas.microsoft.com/office/drawing/2014/main" id="{754D06E1-3F0F-47FC-9064-4B9F6FC488A9}"/>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20374" y="1742473"/>
            <a:ext cx="554819" cy="55718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Transparent Background Social Media Icons Vector , Transparent Cartoon -  Jing.fm">
            <a:hlinkClick r:id="rId7"/>
            <a:extLst>
              <a:ext uri="{FF2B5EF4-FFF2-40B4-BE49-F238E27FC236}">
                <a16:creationId xmlns:a16="http://schemas.microsoft.com/office/drawing/2014/main" id="{31550D9E-16A1-40E1-B303-96D707EAA39E}"/>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20374" y="2381632"/>
            <a:ext cx="554819" cy="55718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A56D9985-0664-4E03-A190-27D01361C07D}"/>
              </a:ext>
            </a:extLst>
          </p:cNvPr>
          <p:cNvSpPr/>
          <p:nvPr userDrawn="1"/>
        </p:nvSpPr>
        <p:spPr>
          <a:xfrm>
            <a:off x="1153003" y="2523992"/>
            <a:ext cx="289560" cy="28956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a:p>
        </p:txBody>
      </p:sp>
      <p:pic>
        <p:nvPicPr>
          <p:cNvPr id="19" name="Picture 18" descr="Website Logo PNG, Web Site Logos Free Download - Free Transparent PNG Logos">
            <a:hlinkClick r:id="rId8"/>
            <a:extLst>
              <a:ext uri="{FF2B5EF4-FFF2-40B4-BE49-F238E27FC236}">
                <a16:creationId xmlns:a16="http://schemas.microsoft.com/office/drawing/2014/main" id="{C2F5B890-B370-4FA5-8933-0CD1EC031E26}"/>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1153003" y="2515442"/>
            <a:ext cx="289560" cy="28956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Transparent Background Social Media Icons Vector , Transparent Cartoon -  Jing.fm">
            <a:hlinkClick r:id="rId10"/>
            <a:extLst>
              <a:ext uri="{FF2B5EF4-FFF2-40B4-BE49-F238E27FC236}">
                <a16:creationId xmlns:a16="http://schemas.microsoft.com/office/drawing/2014/main" id="{9A48C3F2-8C8D-4048-81C2-82C977E780E9}"/>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20374" y="3012134"/>
            <a:ext cx="554819" cy="55718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CA03CCF5-A3AA-4CEF-9144-4D9CAF03D220}"/>
              </a:ext>
            </a:extLst>
          </p:cNvPr>
          <p:cNvSpPr/>
          <p:nvPr userDrawn="1"/>
        </p:nvSpPr>
        <p:spPr>
          <a:xfrm>
            <a:off x="1153003" y="3144082"/>
            <a:ext cx="268092" cy="268092"/>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a:p>
        </p:txBody>
      </p:sp>
      <p:pic>
        <p:nvPicPr>
          <p:cNvPr id="22" name="Picture 21" descr="Download Mail Icon Vector Png - Email Png PNG Image with No Background -  PNGkey.com">
            <a:hlinkClick r:id="rId10"/>
            <a:extLst>
              <a:ext uri="{FF2B5EF4-FFF2-40B4-BE49-F238E27FC236}">
                <a16:creationId xmlns:a16="http://schemas.microsoft.com/office/drawing/2014/main" id="{BAAA7C6E-5319-4F24-9C85-5B8F902DFFE9}"/>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auto">
          <a:xfrm>
            <a:off x="1153734" y="3156678"/>
            <a:ext cx="288829" cy="268092"/>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2D6BF818-1D85-4FBA-9AA2-F626DAA80DF6}"/>
              </a:ext>
            </a:extLst>
          </p:cNvPr>
          <p:cNvSpPr/>
          <p:nvPr userDrawn="1"/>
        </p:nvSpPr>
        <p:spPr>
          <a:xfrm>
            <a:off x="1645753" y="1218232"/>
            <a:ext cx="4839101" cy="340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GB" sz="1200" b="1">
                <a:solidFill>
                  <a:schemeClr val="bg2"/>
                </a:solidFill>
                <a:latin typeface="Arial" panose="020B0604020202020204" pitchFamily="34" charset="0"/>
                <a:cs typeface="Arial" panose="020B0604020202020204" pitchFamily="34" charset="0"/>
              </a:rPr>
              <a:t>Instagram.com/bocconistudentsfintechsociety</a:t>
            </a:r>
          </a:p>
        </p:txBody>
      </p:sp>
      <p:sp>
        <p:nvSpPr>
          <p:cNvPr id="24" name="Rectangle 23">
            <a:extLst>
              <a:ext uri="{FF2B5EF4-FFF2-40B4-BE49-F238E27FC236}">
                <a16:creationId xmlns:a16="http://schemas.microsoft.com/office/drawing/2014/main" id="{2ABDC6B6-2430-44CA-825E-8B74A2C8AA3C}"/>
              </a:ext>
            </a:extLst>
          </p:cNvPr>
          <p:cNvSpPr/>
          <p:nvPr userDrawn="1"/>
        </p:nvSpPr>
        <p:spPr>
          <a:xfrm>
            <a:off x="1645753" y="1852272"/>
            <a:ext cx="4494196" cy="340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GB" sz="1200" b="1">
                <a:solidFill>
                  <a:schemeClr val="bg2"/>
                </a:solidFill>
                <a:latin typeface="Arial" panose="020B0604020202020204" pitchFamily="34" charset="0"/>
                <a:cs typeface="Arial" panose="020B0604020202020204" pitchFamily="34" charset="0"/>
              </a:rPr>
              <a:t>LinkedIn.com/company/bsfintechsociety</a:t>
            </a:r>
          </a:p>
        </p:txBody>
      </p:sp>
      <p:sp>
        <p:nvSpPr>
          <p:cNvPr id="25" name="Rectangle 24">
            <a:extLst>
              <a:ext uri="{FF2B5EF4-FFF2-40B4-BE49-F238E27FC236}">
                <a16:creationId xmlns:a16="http://schemas.microsoft.com/office/drawing/2014/main" id="{C24FA779-E778-4EDC-B48C-912EAFD87343}"/>
              </a:ext>
            </a:extLst>
          </p:cNvPr>
          <p:cNvSpPr/>
          <p:nvPr userDrawn="1"/>
        </p:nvSpPr>
        <p:spPr>
          <a:xfrm>
            <a:off x="1645753" y="2486312"/>
            <a:ext cx="1949664" cy="340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GB" sz="1200" b="1">
                <a:solidFill>
                  <a:schemeClr val="bg2"/>
                </a:solidFill>
                <a:latin typeface="Arial" panose="020B0604020202020204" pitchFamily="34" charset="0"/>
                <a:cs typeface="Arial" panose="020B0604020202020204" pitchFamily="34" charset="0"/>
              </a:rPr>
              <a:t>Bsfintechsociety.com</a:t>
            </a:r>
          </a:p>
        </p:txBody>
      </p:sp>
      <p:sp>
        <p:nvSpPr>
          <p:cNvPr id="26" name="Rectangle 25">
            <a:extLst>
              <a:ext uri="{FF2B5EF4-FFF2-40B4-BE49-F238E27FC236}">
                <a16:creationId xmlns:a16="http://schemas.microsoft.com/office/drawing/2014/main" id="{98C4EE85-C7DF-4058-AE6B-B56D834C51E9}"/>
              </a:ext>
            </a:extLst>
          </p:cNvPr>
          <p:cNvSpPr/>
          <p:nvPr userDrawn="1"/>
        </p:nvSpPr>
        <p:spPr>
          <a:xfrm>
            <a:off x="1645753" y="3120353"/>
            <a:ext cx="3435417" cy="340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GB" sz="1200" b="1">
                <a:solidFill>
                  <a:schemeClr val="bg2"/>
                </a:solidFill>
                <a:latin typeface="Arial" panose="020B0604020202020204" pitchFamily="34" charset="0"/>
                <a:cs typeface="Arial" panose="020B0604020202020204" pitchFamily="34" charset="0"/>
              </a:rPr>
              <a:t>As.bsfintechsociety@unibocconi.it</a:t>
            </a:r>
          </a:p>
        </p:txBody>
      </p:sp>
      <p:pic>
        <p:nvPicPr>
          <p:cNvPr id="29" name="Immagine 28">
            <a:extLst>
              <a:ext uri="{FF2B5EF4-FFF2-40B4-BE49-F238E27FC236}">
                <a16:creationId xmlns:a16="http://schemas.microsoft.com/office/drawing/2014/main" id="{C5E9D368-4597-BD46-8E02-7A6623DA647D}"/>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7891065" y="301881"/>
            <a:ext cx="838001" cy="622515"/>
          </a:xfrm>
          <a:prstGeom prst="rect">
            <a:avLst/>
          </a:prstGeom>
        </p:spPr>
      </p:pic>
    </p:spTree>
    <p:extLst>
      <p:ext uri="{BB962C8B-B14F-4D97-AF65-F5344CB8AC3E}">
        <p14:creationId xmlns:p14="http://schemas.microsoft.com/office/powerpoint/2010/main" val="21312156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872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5"/>
        <p:cNvGrpSpPr/>
        <p:nvPr/>
      </p:nvGrpSpPr>
      <p:grpSpPr>
        <a:xfrm>
          <a:off x="0" y="0"/>
          <a:ext cx="0" cy="0"/>
          <a:chOff x="0" y="0"/>
          <a:chExt cx="0" cy="0"/>
        </a:xfrm>
      </p:grpSpPr>
      <p:sp>
        <p:nvSpPr>
          <p:cNvPr id="36" name="Google Shape;36;p18"/>
          <p:cNvSpPr txBox="1">
            <a:spLocks noGrp="1"/>
          </p:cNvSpPr>
          <p:nvPr>
            <p:ph type="title"/>
          </p:nvPr>
        </p:nvSpPr>
        <p:spPr>
          <a:xfrm>
            <a:off x="356695" y="365126"/>
            <a:ext cx="8429625" cy="74488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400"/>
              <a:buFont typeface="Arial"/>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 name="Google Shape;37;p18"/>
          <p:cNvSpPr txBox="1">
            <a:spLocks noGrp="1"/>
          </p:cNvSpPr>
          <p:nvPr>
            <p:ph type="body" idx="1"/>
          </p:nvPr>
        </p:nvSpPr>
        <p:spPr>
          <a:xfrm>
            <a:off x="356695" y="1412834"/>
            <a:ext cx="8429625" cy="42545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2"/>
              </a:buClr>
              <a:buSzPts val="1400"/>
              <a:buNone/>
              <a:defRPr sz="1400" b="1">
                <a:solidFill>
                  <a:schemeClr val="lt2"/>
                </a:solidFill>
              </a:defRPr>
            </a:lvl1pPr>
            <a:lvl2pPr marL="914400" lvl="1" indent="-342900" algn="l">
              <a:lnSpc>
                <a:spcPct val="90000"/>
              </a:lnSpc>
              <a:spcBef>
                <a:spcPts val="500"/>
              </a:spcBef>
              <a:spcAft>
                <a:spcPts val="0"/>
              </a:spcAft>
              <a:buClr>
                <a:schemeClr val="accent3"/>
              </a:buClr>
              <a:buSzPts val="1800"/>
              <a:buChar char="•"/>
              <a:defRPr/>
            </a:lvl2pPr>
            <a:lvl3pPr marL="1371600" lvl="2" indent="-342900" algn="l">
              <a:lnSpc>
                <a:spcPct val="90000"/>
              </a:lnSpc>
              <a:spcBef>
                <a:spcPts val="500"/>
              </a:spcBef>
              <a:spcAft>
                <a:spcPts val="0"/>
              </a:spcAft>
              <a:buClr>
                <a:schemeClr val="lt1"/>
              </a:buClr>
              <a:buSzPts val="1800"/>
              <a:buChar char="•"/>
              <a:defRPr/>
            </a:lvl3pPr>
            <a:lvl4pPr marL="1828800" lvl="3" indent="-342900" algn="l">
              <a:lnSpc>
                <a:spcPct val="90000"/>
              </a:lnSpc>
              <a:spcBef>
                <a:spcPts val="500"/>
              </a:spcBef>
              <a:spcAft>
                <a:spcPts val="0"/>
              </a:spcAft>
              <a:buClr>
                <a:schemeClr val="lt1"/>
              </a:buClr>
              <a:buSzPts val="1800"/>
              <a:buChar char="•"/>
              <a:defRPr/>
            </a:lvl4pPr>
            <a:lvl5pPr marL="2286000" lvl="4" indent="-342900" algn="l">
              <a:lnSpc>
                <a:spcPct val="90000"/>
              </a:lnSpc>
              <a:spcBef>
                <a:spcPts val="500"/>
              </a:spcBef>
              <a:spcAft>
                <a:spcPts val="0"/>
              </a:spcAft>
              <a:buClr>
                <a:schemeClr val="lt1"/>
              </a:buClr>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38" name="Google Shape;38;p18"/>
          <p:cNvSpPr txBox="1">
            <a:spLocks noGrp="1"/>
          </p:cNvSpPr>
          <p:nvPr>
            <p:ph type="dt" idx="10"/>
          </p:nvPr>
        </p:nvSpPr>
        <p:spPr>
          <a:xfrm>
            <a:off x="357680" y="6356351"/>
            <a:ext cx="20574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 name="Google Shape;39;p18"/>
          <p:cNvSpPr txBox="1">
            <a:spLocks noGrp="1"/>
          </p:cNvSpPr>
          <p:nvPr>
            <p:ph type="ftr" idx="11"/>
          </p:nvPr>
        </p:nvSpPr>
        <p:spPr>
          <a:xfrm>
            <a:off x="3028950" y="6356351"/>
            <a:ext cx="30861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 name="Google Shape;40;p18"/>
          <p:cNvSpPr txBox="1">
            <a:spLocks noGrp="1"/>
          </p:cNvSpPr>
          <p:nvPr>
            <p:ph type="sldNum" idx="12"/>
          </p:nvPr>
        </p:nvSpPr>
        <p:spPr>
          <a:xfrm>
            <a:off x="6728920" y="6356351"/>
            <a:ext cx="20574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chemeClr val="lt1"/>
                </a:solidFill>
                <a:latin typeface="Arial"/>
                <a:ea typeface="Arial"/>
                <a:cs typeface="Arial"/>
                <a:sym typeface="Arial"/>
              </a:defRPr>
            </a:lvl1pPr>
            <a:lvl2pPr marL="0" lvl="1" indent="0" algn="r">
              <a:spcBef>
                <a:spcPts val="0"/>
              </a:spcBef>
              <a:buNone/>
              <a:defRPr sz="1000">
                <a:solidFill>
                  <a:schemeClr val="lt1"/>
                </a:solidFill>
                <a:latin typeface="Arial"/>
                <a:ea typeface="Arial"/>
                <a:cs typeface="Arial"/>
                <a:sym typeface="Arial"/>
              </a:defRPr>
            </a:lvl2pPr>
            <a:lvl3pPr marL="0" lvl="2" indent="0" algn="r">
              <a:spcBef>
                <a:spcPts val="0"/>
              </a:spcBef>
              <a:buNone/>
              <a:defRPr sz="1000">
                <a:solidFill>
                  <a:schemeClr val="lt1"/>
                </a:solidFill>
                <a:latin typeface="Arial"/>
                <a:ea typeface="Arial"/>
                <a:cs typeface="Arial"/>
                <a:sym typeface="Arial"/>
              </a:defRPr>
            </a:lvl3pPr>
            <a:lvl4pPr marL="0" lvl="3" indent="0" algn="r">
              <a:spcBef>
                <a:spcPts val="0"/>
              </a:spcBef>
              <a:buNone/>
              <a:defRPr sz="1000">
                <a:solidFill>
                  <a:schemeClr val="lt1"/>
                </a:solidFill>
                <a:latin typeface="Arial"/>
                <a:ea typeface="Arial"/>
                <a:cs typeface="Arial"/>
                <a:sym typeface="Arial"/>
              </a:defRPr>
            </a:lvl4pPr>
            <a:lvl5pPr marL="0" lvl="4" indent="0" algn="r">
              <a:spcBef>
                <a:spcPts val="0"/>
              </a:spcBef>
              <a:buNone/>
              <a:defRPr sz="1000">
                <a:solidFill>
                  <a:schemeClr val="lt1"/>
                </a:solidFill>
                <a:latin typeface="Arial"/>
                <a:ea typeface="Arial"/>
                <a:cs typeface="Arial"/>
                <a:sym typeface="Arial"/>
              </a:defRPr>
            </a:lvl5pPr>
            <a:lvl6pPr marL="0" lvl="5" indent="0" algn="r">
              <a:spcBef>
                <a:spcPts val="0"/>
              </a:spcBef>
              <a:buNone/>
              <a:defRPr sz="1000">
                <a:solidFill>
                  <a:schemeClr val="lt1"/>
                </a:solidFill>
                <a:latin typeface="Arial"/>
                <a:ea typeface="Arial"/>
                <a:cs typeface="Arial"/>
                <a:sym typeface="Arial"/>
              </a:defRPr>
            </a:lvl6pPr>
            <a:lvl7pPr marL="0" lvl="6" indent="0" algn="r">
              <a:spcBef>
                <a:spcPts val="0"/>
              </a:spcBef>
              <a:buNone/>
              <a:defRPr sz="1000">
                <a:solidFill>
                  <a:schemeClr val="lt1"/>
                </a:solidFill>
                <a:latin typeface="Arial"/>
                <a:ea typeface="Arial"/>
                <a:cs typeface="Arial"/>
                <a:sym typeface="Arial"/>
              </a:defRPr>
            </a:lvl7pPr>
            <a:lvl8pPr marL="0" lvl="7" indent="0" algn="r">
              <a:spcBef>
                <a:spcPts val="0"/>
              </a:spcBef>
              <a:buNone/>
              <a:defRPr sz="1000">
                <a:solidFill>
                  <a:schemeClr val="lt1"/>
                </a:solidFill>
                <a:latin typeface="Arial"/>
                <a:ea typeface="Arial"/>
                <a:cs typeface="Arial"/>
                <a:sym typeface="Arial"/>
              </a:defRPr>
            </a:lvl8pPr>
            <a:lvl9pPr marL="0" lvl="8" indent="0" algn="r">
              <a:spcBef>
                <a:spcPts val="0"/>
              </a:spcBef>
              <a:buNone/>
              <a:defRPr sz="1000">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1" name="Google Shape;41;p18"/>
          <p:cNvSpPr txBox="1">
            <a:spLocks noGrp="1"/>
          </p:cNvSpPr>
          <p:nvPr>
            <p:ph type="body" idx="2"/>
          </p:nvPr>
        </p:nvSpPr>
        <p:spPr>
          <a:xfrm>
            <a:off x="357188" y="5843588"/>
            <a:ext cx="8429625" cy="42545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accent6"/>
              </a:buClr>
              <a:buSzPts val="1000"/>
              <a:buNone/>
              <a:defRPr sz="1000">
                <a:solidFill>
                  <a:schemeClr val="accent6"/>
                </a:solidFill>
              </a:defRPr>
            </a:lvl1pPr>
            <a:lvl2pPr marL="914400" lvl="1" indent="-342900" algn="l">
              <a:lnSpc>
                <a:spcPct val="90000"/>
              </a:lnSpc>
              <a:spcBef>
                <a:spcPts val="500"/>
              </a:spcBef>
              <a:spcAft>
                <a:spcPts val="0"/>
              </a:spcAft>
              <a:buClr>
                <a:schemeClr val="accent3"/>
              </a:buClr>
              <a:buSzPts val="1800"/>
              <a:buChar char="•"/>
              <a:defRPr/>
            </a:lvl2pPr>
            <a:lvl3pPr marL="1371600" lvl="2" indent="-342900" algn="l">
              <a:lnSpc>
                <a:spcPct val="90000"/>
              </a:lnSpc>
              <a:spcBef>
                <a:spcPts val="500"/>
              </a:spcBef>
              <a:spcAft>
                <a:spcPts val="0"/>
              </a:spcAft>
              <a:buClr>
                <a:schemeClr val="lt1"/>
              </a:buClr>
              <a:buSzPts val="1800"/>
              <a:buChar char="•"/>
              <a:defRPr/>
            </a:lvl3pPr>
            <a:lvl4pPr marL="1828800" lvl="3" indent="-342900" algn="l">
              <a:lnSpc>
                <a:spcPct val="90000"/>
              </a:lnSpc>
              <a:spcBef>
                <a:spcPts val="500"/>
              </a:spcBef>
              <a:spcAft>
                <a:spcPts val="0"/>
              </a:spcAft>
              <a:buClr>
                <a:schemeClr val="lt1"/>
              </a:buClr>
              <a:buSzPts val="1800"/>
              <a:buChar char="•"/>
              <a:defRPr/>
            </a:lvl4pPr>
            <a:lvl5pPr marL="2286000" lvl="4" indent="-342900" algn="l">
              <a:lnSpc>
                <a:spcPct val="90000"/>
              </a:lnSpc>
              <a:spcBef>
                <a:spcPts val="500"/>
              </a:spcBef>
              <a:spcAft>
                <a:spcPts val="0"/>
              </a:spcAft>
              <a:buClr>
                <a:schemeClr val="lt1"/>
              </a:buClr>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42" name="Google Shape;42;p18"/>
          <p:cNvSpPr txBox="1">
            <a:spLocks noGrp="1"/>
          </p:cNvSpPr>
          <p:nvPr>
            <p:ph type="body" idx="3"/>
          </p:nvPr>
        </p:nvSpPr>
        <p:spPr>
          <a:xfrm>
            <a:off x="356695" y="1928380"/>
            <a:ext cx="8429625" cy="3516786"/>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000"/>
              <a:buNone/>
              <a:defRPr sz="1000">
                <a:solidFill>
                  <a:schemeClr val="lt1"/>
                </a:solidFill>
              </a:defRPr>
            </a:lvl1pPr>
            <a:lvl2pPr marL="914400" lvl="1" indent="-342900" algn="l">
              <a:lnSpc>
                <a:spcPct val="90000"/>
              </a:lnSpc>
              <a:spcBef>
                <a:spcPts val="500"/>
              </a:spcBef>
              <a:spcAft>
                <a:spcPts val="0"/>
              </a:spcAft>
              <a:buClr>
                <a:schemeClr val="accent3"/>
              </a:buClr>
              <a:buSzPts val="1800"/>
              <a:buChar char="•"/>
              <a:defRPr/>
            </a:lvl2pPr>
            <a:lvl3pPr marL="1371600" lvl="2" indent="-342900" algn="l">
              <a:lnSpc>
                <a:spcPct val="90000"/>
              </a:lnSpc>
              <a:spcBef>
                <a:spcPts val="500"/>
              </a:spcBef>
              <a:spcAft>
                <a:spcPts val="0"/>
              </a:spcAft>
              <a:buClr>
                <a:schemeClr val="lt1"/>
              </a:buClr>
              <a:buSzPts val="1800"/>
              <a:buChar char="•"/>
              <a:defRPr/>
            </a:lvl3pPr>
            <a:lvl4pPr marL="1828800" lvl="3" indent="-342900" algn="l">
              <a:lnSpc>
                <a:spcPct val="90000"/>
              </a:lnSpc>
              <a:spcBef>
                <a:spcPts val="500"/>
              </a:spcBef>
              <a:spcAft>
                <a:spcPts val="0"/>
              </a:spcAft>
              <a:buClr>
                <a:schemeClr val="lt1"/>
              </a:buClr>
              <a:buSzPts val="1800"/>
              <a:buChar char="•"/>
              <a:defRPr/>
            </a:lvl4pPr>
            <a:lvl5pPr marL="2286000" lvl="4" indent="-342900" algn="l">
              <a:lnSpc>
                <a:spcPct val="90000"/>
              </a:lnSpc>
              <a:spcBef>
                <a:spcPts val="500"/>
              </a:spcBef>
              <a:spcAft>
                <a:spcPts val="0"/>
              </a:spcAft>
              <a:buClr>
                <a:schemeClr val="lt1"/>
              </a:buClr>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Tree>
    <p:extLst>
      <p:ext uri="{BB962C8B-B14F-4D97-AF65-F5344CB8AC3E}">
        <p14:creationId xmlns:p14="http://schemas.microsoft.com/office/powerpoint/2010/main" val="6452790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pic>
        <p:nvPicPr>
          <p:cNvPr id="11" name="Picture 10" descr="A picture containing building, stadium, spaghetti junction, colonnade&#10;&#10;Description automatically generated">
            <a:extLst>
              <a:ext uri="{FF2B5EF4-FFF2-40B4-BE49-F238E27FC236}">
                <a16:creationId xmlns:a16="http://schemas.microsoft.com/office/drawing/2014/main" id="{692E213D-91EC-48F2-BC67-1500BB9D924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 y="0"/>
            <a:ext cx="9144000" cy="6857998"/>
          </a:xfrm>
          <a:prstGeom prst="rect">
            <a:avLst/>
          </a:prstGeom>
        </p:spPr>
      </p:pic>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3F5363E1-0563-CA48-AAF1-49D350FB8A11}" type="datetime4">
              <a:rPr lang="it-IT" smtClean="0"/>
              <a:t>21 novembre 2024</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330EA680-D336-4FF7-8B7A-9848BB0A1C32}" type="slidenum">
              <a:rPr lang="en-US" smtClean="0"/>
              <a:pPr/>
              <a:t>‹#›</a:t>
            </a:fld>
            <a:endParaRPr lang="en-US"/>
          </a:p>
        </p:txBody>
      </p:sp>
      <p:sp>
        <p:nvSpPr>
          <p:cNvPr id="9" name="Rectangle 8">
            <a:extLst>
              <a:ext uri="{FF2B5EF4-FFF2-40B4-BE49-F238E27FC236}">
                <a16:creationId xmlns:a16="http://schemas.microsoft.com/office/drawing/2014/main" id="{9F5B5372-3DF2-4209-92D2-119050B50D1B}"/>
              </a:ext>
            </a:extLst>
          </p:cNvPr>
          <p:cNvSpPr/>
          <p:nvPr/>
        </p:nvSpPr>
        <p:spPr>
          <a:xfrm>
            <a:off x="2" y="1"/>
            <a:ext cx="9143998" cy="6857999"/>
          </a:xfrm>
          <a:prstGeom prst="rect">
            <a:avLst/>
          </a:prstGeom>
          <a:solidFill>
            <a:srgbClr val="000000">
              <a:alpha val="69804"/>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None/>
            </a:pPr>
            <a:endParaRPr lang="en-GB" sz="3600">
              <a:solidFill>
                <a:schemeClr val="bg1"/>
              </a:solidFill>
              <a:ea typeface="Roboto"/>
              <a:cs typeface="Roboto"/>
              <a:sym typeface="Roboto"/>
            </a:endParaRPr>
          </a:p>
        </p:txBody>
      </p:sp>
      <p:sp>
        <p:nvSpPr>
          <p:cNvPr id="10" name="TextBox 9">
            <a:extLst>
              <a:ext uri="{FF2B5EF4-FFF2-40B4-BE49-F238E27FC236}">
                <a16:creationId xmlns:a16="http://schemas.microsoft.com/office/drawing/2014/main" id="{C6B4ABA9-0C0F-49A1-8DA2-6E75AC887514}"/>
              </a:ext>
            </a:extLst>
          </p:cNvPr>
          <p:cNvSpPr txBox="1"/>
          <p:nvPr/>
        </p:nvSpPr>
        <p:spPr>
          <a:xfrm>
            <a:off x="334943" y="917062"/>
            <a:ext cx="5596404" cy="1569660"/>
          </a:xfrm>
          <a:prstGeom prst="rect">
            <a:avLst/>
          </a:prstGeom>
          <a:noFill/>
        </p:spPr>
        <p:txBody>
          <a:bodyPr wrap="none" rtlCol="0">
            <a:spAutoFit/>
          </a:bodyPr>
          <a:lstStyle/>
          <a:p>
            <a:r>
              <a:rPr lang="en-US" sz="4800" b="1">
                <a:solidFill>
                  <a:schemeClr val="accent1"/>
                </a:solidFill>
                <a:latin typeface="Arial" panose="020B0604020202020204" pitchFamily="34" charset="0"/>
                <a:cs typeface="Arial" panose="020B0604020202020204" pitchFamily="34" charset="0"/>
              </a:rPr>
              <a:t>Bocconi Students </a:t>
            </a:r>
          </a:p>
          <a:p>
            <a:r>
              <a:rPr lang="en-US" sz="4800" b="1">
                <a:solidFill>
                  <a:schemeClr val="accent1"/>
                </a:solidFill>
                <a:latin typeface="Arial" panose="020B0604020202020204" pitchFamily="34" charset="0"/>
                <a:cs typeface="Arial" panose="020B0604020202020204" pitchFamily="34" charset="0"/>
              </a:rPr>
              <a:t>Fintech Society</a:t>
            </a:r>
            <a:endParaRPr lang="en-CH" sz="4800" b="1">
              <a:solidFill>
                <a:schemeClr val="accent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5BF8CB50-C483-4EEB-99FF-01A56CA20B83}"/>
              </a:ext>
            </a:extLst>
          </p:cNvPr>
          <p:cNvSpPr txBox="1"/>
          <p:nvPr/>
        </p:nvSpPr>
        <p:spPr>
          <a:xfrm>
            <a:off x="5540233" y="6216028"/>
            <a:ext cx="3121304" cy="369332"/>
          </a:xfrm>
          <a:prstGeom prst="rect">
            <a:avLst/>
          </a:prstGeom>
          <a:noFill/>
        </p:spPr>
        <p:txBody>
          <a:bodyPr wrap="none" rtlCol="0">
            <a:spAutoFit/>
          </a:bodyPr>
          <a:lstStyle/>
          <a:p>
            <a:r>
              <a:rPr lang="en-US" b="1">
                <a:solidFill>
                  <a:schemeClr val="accent1"/>
                </a:solidFill>
                <a:latin typeface="Arial" panose="020B0604020202020204" pitchFamily="34" charset="0"/>
                <a:cs typeface="Arial" panose="020B0604020202020204" pitchFamily="34" charset="0"/>
              </a:rPr>
              <a:t>www.bsfintechsociety.com</a:t>
            </a:r>
            <a:endParaRPr lang="en-CH" b="1">
              <a:solidFill>
                <a:schemeClr val="accent1"/>
              </a:solidFill>
              <a:latin typeface="Arial" panose="020B0604020202020204" pitchFamily="34" charset="0"/>
              <a:cs typeface="Arial" panose="020B0604020202020204" pitchFamily="34" charset="0"/>
            </a:endParaRPr>
          </a:p>
        </p:txBody>
      </p:sp>
      <p:sp>
        <p:nvSpPr>
          <p:cNvPr id="8" name="Text Placeholder 7">
            <a:extLst>
              <a:ext uri="{FF2B5EF4-FFF2-40B4-BE49-F238E27FC236}">
                <a16:creationId xmlns:a16="http://schemas.microsoft.com/office/drawing/2014/main" id="{95F5D2D1-C348-4FF6-B5B3-C53D99B9A275}"/>
              </a:ext>
            </a:extLst>
          </p:cNvPr>
          <p:cNvSpPr>
            <a:spLocks noGrp="1"/>
          </p:cNvSpPr>
          <p:nvPr>
            <p:ph type="body" sz="quarter" idx="13" hasCustomPrompt="1"/>
          </p:nvPr>
        </p:nvSpPr>
        <p:spPr>
          <a:xfrm>
            <a:off x="357188" y="2500313"/>
            <a:ext cx="5586412" cy="648468"/>
          </a:xfrm>
        </p:spPr>
        <p:txBody>
          <a:bodyPr>
            <a:normAutofit/>
          </a:bodyPr>
          <a:lstStyle>
            <a:lvl1pPr marL="0" indent="0">
              <a:buNone/>
              <a:defRPr sz="1800" b="1">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en-US"/>
              <a:t>xxx</a:t>
            </a:r>
            <a:endParaRPr lang="en-CH"/>
          </a:p>
        </p:txBody>
      </p:sp>
      <p:pic>
        <p:nvPicPr>
          <p:cNvPr id="2" name="Immagine 1">
            <a:extLst>
              <a:ext uri="{FF2B5EF4-FFF2-40B4-BE49-F238E27FC236}">
                <a16:creationId xmlns:a16="http://schemas.microsoft.com/office/drawing/2014/main" id="{C83F8B14-51DA-C14C-BAB3-E1AB0AF94E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891065" y="301881"/>
            <a:ext cx="838001" cy="622515"/>
          </a:xfrm>
          <a:prstGeom prst="rect">
            <a:avLst/>
          </a:prstGeom>
        </p:spPr>
      </p:pic>
    </p:spTree>
    <p:extLst>
      <p:ext uri="{BB962C8B-B14F-4D97-AF65-F5344CB8AC3E}">
        <p14:creationId xmlns:p14="http://schemas.microsoft.com/office/powerpoint/2010/main" val="18669533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95" y="365126"/>
            <a:ext cx="8429625" cy="744887"/>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hasCustomPrompt="1"/>
          </p:nvPr>
        </p:nvSpPr>
        <p:spPr>
          <a:xfrm>
            <a:off x="356695" y="1412834"/>
            <a:ext cx="8429625" cy="425450"/>
          </a:xfrm>
          <a:prstGeom prst="rect">
            <a:avLst/>
          </a:prstGeom>
        </p:spPr>
        <p:txBody>
          <a:bodyPr>
            <a:normAutofit/>
          </a:bodyPr>
          <a:lstStyle>
            <a:lvl1pPr marL="0" indent="0">
              <a:buNone/>
              <a:defRPr sz="1400" b="1">
                <a:solidFill>
                  <a:schemeClr val="tx2"/>
                </a:solidFill>
              </a:defRPr>
            </a:lvl1pPr>
          </a:lstStyle>
          <a:p>
            <a:pPr lvl="0"/>
            <a:r>
              <a:rPr lang="en-US"/>
              <a:t>Action Title</a:t>
            </a:r>
          </a:p>
        </p:txBody>
      </p:sp>
      <p:sp>
        <p:nvSpPr>
          <p:cNvPr id="4" name="Date Placeholder 3"/>
          <p:cNvSpPr>
            <a:spLocks noGrp="1"/>
          </p:cNvSpPr>
          <p:nvPr>
            <p:ph type="dt" sz="half" idx="10"/>
          </p:nvPr>
        </p:nvSpPr>
        <p:spPr/>
        <p:txBody>
          <a:bodyPr/>
          <a:lstStyle>
            <a:lvl1pPr>
              <a:defRPr>
                <a:solidFill>
                  <a:schemeClr val="tx1"/>
                </a:solidFill>
              </a:defRPr>
            </a:lvl1pPr>
          </a:lstStyle>
          <a:p>
            <a:fld id="{AAFDF706-8F3E-6B4E-856F-4E40173316CA}" type="datetime4">
              <a:rPr lang="it-IT" smtClean="0"/>
              <a:t>21 novembre 2024</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lvl1pPr>
              <a:defRPr>
                <a:solidFill>
                  <a:schemeClr val="tx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330EA680-D336-4FF7-8B7A-9848BB0A1C32}" type="slidenum">
              <a:rPr lang="en-US" smtClean="0"/>
              <a:pPr/>
              <a:t>‹#›</a:t>
            </a:fld>
            <a:endParaRPr lang="en-US"/>
          </a:p>
        </p:txBody>
      </p:sp>
      <p:sp>
        <p:nvSpPr>
          <p:cNvPr id="7" name="Text Placeholder 9">
            <a:extLst>
              <a:ext uri="{FF2B5EF4-FFF2-40B4-BE49-F238E27FC236}">
                <a16:creationId xmlns:a16="http://schemas.microsoft.com/office/drawing/2014/main" id="{29BF601D-D7F7-4932-9CA3-B6414B08BD5E}"/>
              </a:ext>
            </a:extLst>
          </p:cNvPr>
          <p:cNvSpPr>
            <a:spLocks noGrp="1"/>
          </p:cNvSpPr>
          <p:nvPr>
            <p:ph type="body" sz="quarter" idx="13"/>
          </p:nvPr>
        </p:nvSpPr>
        <p:spPr>
          <a:xfrm>
            <a:off x="357188" y="5843588"/>
            <a:ext cx="8429625" cy="425450"/>
          </a:xfrm>
          <a:prstGeom prst="rect">
            <a:avLst/>
          </a:prstGeom>
        </p:spPr>
        <p:txBody>
          <a:bodyPr>
            <a:normAutofit/>
          </a:bodyPr>
          <a:lstStyle>
            <a:lvl1pPr marL="0" indent="0">
              <a:buNone/>
              <a:defRPr sz="1000">
                <a:solidFill>
                  <a:schemeClr val="accent6"/>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C1FD82DF-12E1-41A2-8A73-E0015FE38055}"/>
              </a:ext>
            </a:extLst>
          </p:cNvPr>
          <p:cNvSpPr>
            <a:spLocks noGrp="1"/>
          </p:cNvSpPr>
          <p:nvPr>
            <p:ph idx="14" hasCustomPrompt="1"/>
          </p:nvPr>
        </p:nvSpPr>
        <p:spPr>
          <a:xfrm>
            <a:off x="356695" y="1928380"/>
            <a:ext cx="8429625" cy="3516786"/>
          </a:xfrm>
          <a:prstGeom prst="rect">
            <a:avLst/>
          </a:prstGeom>
        </p:spPr>
        <p:txBody>
          <a:bodyPr>
            <a:normAutofit/>
          </a:bodyPr>
          <a:lstStyle>
            <a:lvl1pPr marL="0" indent="0">
              <a:buNone/>
              <a:defRPr sz="1000">
                <a:solidFill>
                  <a:schemeClr val="tx1"/>
                </a:solidFill>
              </a:defRPr>
            </a:lvl1pPr>
          </a:lstStyle>
          <a:p>
            <a:pPr lvl="0"/>
            <a:r>
              <a:rPr lang="en-US"/>
              <a:t>Action Title</a:t>
            </a:r>
          </a:p>
        </p:txBody>
      </p:sp>
      <p:sp>
        <p:nvSpPr>
          <p:cNvPr id="9" name="TextBox 8">
            <a:extLst>
              <a:ext uri="{FF2B5EF4-FFF2-40B4-BE49-F238E27FC236}">
                <a16:creationId xmlns:a16="http://schemas.microsoft.com/office/drawing/2014/main" id="{A63D33EF-5424-074A-B601-CEA7B07B7D81}"/>
              </a:ext>
            </a:extLst>
          </p:cNvPr>
          <p:cNvSpPr txBox="1"/>
          <p:nvPr/>
        </p:nvSpPr>
        <p:spPr>
          <a:xfrm>
            <a:off x="8488017" y="705678"/>
            <a:ext cx="184731" cy="369332"/>
          </a:xfrm>
          <a:prstGeom prst="rect">
            <a:avLst/>
          </a:prstGeom>
          <a:noFill/>
        </p:spPr>
        <p:txBody>
          <a:bodyPr wrap="none" rtlCol="0">
            <a:spAutoFit/>
          </a:bodyPr>
          <a:lstStyle/>
          <a:p>
            <a:endParaRPr lang="en-IT"/>
          </a:p>
        </p:txBody>
      </p:sp>
    </p:spTree>
    <p:extLst>
      <p:ext uri="{BB962C8B-B14F-4D97-AF65-F5344CB8AC3E}">
        <p14:creationId xmlns:p14="http://schemas.microsoft.com/office/powerpoint/2010/main" val="4323010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7187" y="365126"/>
            <a:ext cx="8429131" cy="744887"/>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sz="half" idx="1"/>
          </p:nvPr>
        </p:nvSpPr>
        <p:spPr>
          <a:xfrm>
            <a:off x="357188" y="1415721"/>
            <a:ext cx="4157663" cy="4065424"/>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48" y="1415721"/>
            <a:ext cx="4157171" cy="4065424"/>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B46954C-C457-3442-967A-81139734E5B4}" type="datetime4">
              <a:rPr lang="it-IT" smtClean="0"/>
              <a:t>21 novembre 2024</a:t>
            </a:fld>
            <a:endParaRPr lang="en-US"/>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
        <p:nvSpPr>
          <p:cNvPr id="8" name="Text Placeholder 9">
            <a:extLst>
              <a:ext uri="{FF2B5EF4-FFF2-40B4-BE49-F238E27FC236}">
                <a16:creationId xmlns:a16="http://schemas.microsoft.com/office/drawing/2014/main" id="{ED1741FC-D5B1-404F-AA76-697A1D9D80B5}"/>
              </a:ext>
            </a:extLst>
          </p:cNvPr>
          <p:cNvSpPr>
            <a:spLocks noGrp="1"/>
          </p:cNvSpPr>
          <p:nvPr>
            <p:ph type="body" sz="quarter" idx="13"/>
          </p:nvPr>
        </p:nvSpPr>
        <p:spPr>
          <a:xfrm>
            <a:off x="357188" y="5843588"/>
            <a:ext cx="8429625" cy="425450"/>
          </a:xfrm>
          <a:prstGeom prst="rect">
            <a:avLst/>
          </a:prstGeom>
        </p:spPr>
        <p:txBody>
          <a:bodyPr>
            <a:normAutofit/>
          </a:bodyPr>
          <a:lstStyle>
            <a:lvl1pPr marL="0" indent="0">
              <a:buNone/>
              <a:defRPr sz="1000">
                <a:solidFill>
                  <a:schemeClr val="accent6"/>
                </a:solidFill>
              </a:defRPr>
            </a:lvl1pPr>
          </a:lstStyle>
          <a:p>
            <a:pPr lvl="0"/>
            <a:r>
              <a:rPr lang="en-US"/>
              <a:t>Click to edit Master text styles</a:t>
            </a:r>
          </a:p>
        </p:txBody>
      </p:sp>
    </p:spTree>
    <p:extLst>
      <p:ext uri="{BB962C8B-B14F-4D97-AF65-F5344CB8AC3E}">
        <p14:creationId xmlns:p14="http://schemas.microsoft.com/office/powerpoint/2010/main" val="28911660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7188" y="365126"/>
            <a:ext cx="8429132" cy="744887"/>
          </a:xfrm>
        </p:spPr>
        <p:txBody>
          <a:bodyPr/>
          <a:lstStyle>
            <a:lvl1pPr>
              <a:defRPr>
                <a:solidFill>
                  <a:schemeClr val="accent6"/>
                </a:solidFill>
              </a:defRPr>
            </a:lvl1pPr>
          </a:lstStyle>
          <a:p>
            <a:r>
              <a:rPr lang="en-US"/>
              <a:t>Click to edit Master title style</a:t>
            </a:r>
          </a:p>
        </p:txBody>
      </p:sp>
      <p:sp>
        <p:nvSpPr>
          <p:cNvPr id="3" name="Date Placeholder 2"/>
          <p:cNvSpPr>
            <a:spLocks noGrp="1"/>
          </p:cNvSpPr>
          <p:nvPr>
            <p:ph type="dt" sz="half" idx="10"/>
          </p:nvPr>
        </p:nvSpPr>
        <p:spPr/>
        <p:txBody>
          <a:bodyPr/>
          <a:lstStyle/>
          <a:p>
            <a:fld id="{3090AC78-3E5D-AE4D-93D0-D1FDA955BDA2}" type="datetime4">
              <a:rPr lang="it-IT" smtClean="0"/>
              <a:t>21 novembre 2024</a:t>
            </a:fld>
            <a:endParaRPr lang="en-US"/>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
        <p:nvSpPr>
          <p:cNvPr id="6" name="Text Placeholder 9">
            <a:extLst>
              <a:ext uri="{FF2B5EF4-FFF2-40B4-BE49-F238E27FC236}">
                <a16:creationId xmlns:a16="http://schemas.microsoft.com/office/drawing/2014/main" id="{CBF97786-AF60-4C91-BB2D-01E9D18D90C6}"/>
              </a:ext>
            </a:extLst>
          </p:cNvPr>
          <p:cNvSpPr>
            <a:spLocks noGrp="1"/>
          </p:cNvSpPr>
          <p:nvPr>
            <p:ph type="body" sz="quarter" idx="13"/>
          </p:nvPr>
        </p:nvSpPr>
        <p:spPr>
          <a:xfrm>
            <a:off x="357188" y="5843588"/>
            <a:ext cx="8429625" cy="425450"/>
          </a:xfrm>
          <a:prstGeom prst="rect">
            <a:avLst/>
          </a:prstGeom>
        </p:spPr>
        <p:txBody>
          <a:bodyPr>
            <a:normAutofit/>
          </a:bodyPr>
          <a:lstStyle>
            <a:lvl1pPr marL="0" indent="0">
              <a:buNone/>
              <a:defRPr sz="1000">
                <a:solidFill>
                  <a:schemeClr val="accent6"/>
                </a:solidFill>
              </a:defRPr>
            </a:lvl1pPr>
          </a:lstStyle>
          <a:p>
            <a:pPr lvl="0"/>
            <a:r>
              <a:rPr lang="en-US"/>
              <a:t>Click to edit Master text styles</a:t>
            </a:r>
          </a:p>
        </p:txBody>
      </p:sp>
    </p:spTree>
    <p:extLst>
      <p:ext uri="{BB962C8B-B14F-4D97-AF65-F5344CB8AC3E}">
        <p14:creationId xmlns:p14="http://schemas.microsoft.com/office/powerpoint/2010/main" val="39323808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7188" y="1387365"/>
            <a:ext cx="3221831" cy="914401"/>
          </a:xfrm>
        </p:spPr>
        <p:txBody>
          <a:bodyPr anchor="b">
            <a:normAutofit/>
          </a:bodyPr>
          <a:lstStyle>
            <a:lvl1pPr>
              <a:defRPr sz="2800">
                <a:solidFill>
                  <a:schemeClr val="accent6"/>
                </a:solidFill>
              </a:defRPr>
            </a:lvl1pPr>
          </a:lstStyle>
          <a:p>
            <a:r>
              <a:rPr lang="en-US"/>
              <a:t>Click to edit Master title style</a:t>
            </a:r>
          </a:p>
        </p:txBody>
      </p:sp>
      <p:sp>
        <p:nvSpPr>
          <p:cNvPr id="3" name="Content Placeholder 2"/>
          <p:cNvSpPr>
            <a:spLocks noGrp="1"/>
          </p:cNvSpPr>
          <p:nvPr>
            <p:ph idx="1"/>
          </p:nvPr>
        </p:nvSpPr>
        <p:spPr>
          <a:xfrm>
            <a:off x="3887390" y="1387365"/>
            <a:ext cx="4898929" cy="4130566"/>
          </a:xfrm>
          <a:prstGeom prst="rect">
            <a:avLst/>
          </a:prstGeom>
        </p:spPr>
        <p:txBody>
          <a:bodyPr/>
          <a:lstStyle>
            <a:lvl1pPr>
              <a:defRPr sz="3200">
                <a:solidFill>
                  <a:schemeClr val="tx2"/>
                </a:solidFill>
              </a:defRPr>
            </a:lvl1pPr>
            <a:lvl2pPr>
              <a:defRPr sz="2800">
                <a:solidFill>
                  <a:schemeClr val="tx2"/>
                </a:solidFill>
              </a:defRPr>
            </a:lvl2pPr>
            <a:lvl3pPr>
              <a:defRPr sz="2400">
                <a:solidFill>
                  <a:schemeClr val="tx2"/>
                </a:solidFill>
              </a:defRPr>
            </a:lvl3pPr>
            <a:lvl4pPr>
              <a:defRPr sz="2000">
                <a:solidFill>
                  <a:schemeClr val="tx2"/>
                </a:solidFill>
              </a:defRPr>
            </a:lvl4pPr>
            <a:lvl5pPr>
              <a:defRPr sz="20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57188" y="2498835"/>
            <a:ext cx="3221831" cy="2330669"/>
          </a:xfrm>
          <a:prstGeom prst="rect">
            <a:avLst/>
          </a:prstGeom>
        </p:spPr>
        <p:txBody>
          <a:bodyPr/>
          <a:lstStyle>
            <a:lvl1pPr marL="0" indent="0">
              <a:buNone/>
              <a:defRPr sz="1600">
                <a:solidFill>
                  <a:schemeClr val="accent6"/>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FF3FE69-500F-4044-83FE-941AAD2205CB}" type="datetime4">
              <a:rPr lang="it-IT" smtClean="0"/>
              <a:t>21 novembre 2024</a:t>
            </a:fld>
            <a:endParaRPr lang="en-US"/>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
        <p:nvSpPr>
          <p:cNvPr id="8" name="Text Placeholder 9">
            <a:extLst>
              <a:ext uri="{FF2B5EF4-FFF2-40B4-BE49-F238E27FC236}">
                <a16:creationId xmlns:a16="http://schemas.microsoft.com/office/drawing/2014/main" id="{6CF5CA50-528A-4E35-9C79-67F02C879E6E}"/>
              </a:ext>
            </a:extLst>
          </p:cNvPr>
          <p:cNvSpPr>
            <a:spLocks noGrp="1"/>
          </p:cNvSpPr>
          <p:nvPr>
            <p:ph type="body" sz="quarter" idx="13"/>
          </p:nvPr>
        </p:nvSpPr>
        <p:spPr>
          <a:xfrm>
            <a:off x="357188" y="5843588"/>
            <a:ext cx="8429625" cy="425450"/>
          </a:xfrm>
          <a:prstGeom prst="rect">
            <a:avLst/>
          </a:prstGeom>
        </p:spPr>
        <p:txBody>
          <a:bodyPr>
            <a:normAutofit/>
          </a:bodyPr>
          <a:lstStyle>
            <a:lvl1pPr marL="0" indent="0">
              <a:buNone/>
              <a:defRPr sz="1000">
                <a:solidFill>
                  <a:schemeClr val="accent6"/>
                </a:solidFill>
              </a:defRPr>
            </a:lvl1pPr>
          </a:lstStyle>
          <a:p>
            <a:pPr lvl="0"/>
            <a:r>
              <a:rPr lang="en-US"/>
              <a:t>Click to edit Master text styles</a:t>
            </a:r>
          </a:p>
        </p:txBody>
      </p:sp>
    </p:spTree>
    <p:extLst>
      <p:ext uri="{BB962C8B-B14F-4D97-AF65-F5344CB8AC3E}">
        <p14:creationId xmlns:p14="http://schemas.microsoft.com/office/powerpoint/2010/main" val="11816398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7188" y="442639"/>
            <a:ext cx="5737087" cy="546373"/>
          </a:xfrm>
        </p:spPr>
        <p:txBody>
          <a:bodyPr anchor="b"/>
          <a:lstStyle>
            <a:lvl1pPr>
              <a:defRPr sz="3200">
                <a:solidFill>
                  <a:schemeClr val="accent6"/>
                </a:solidFill>
              </a:defRPr>
            </a:lvl1pPr>
          </a:lstStyle>
          <a:p>
            <a:r>
              <a:rPr lang="en-US"/>
              <a:t>Click to edit Master title style</a:t>
            </a:r>
          </a:p>
        </p:txBody>
      </p:sp>
      <p:sp>
        <p:nvSpPr>
          <p:cNvPr id="3" name="Picture Placeholder 2"/>
          <p:cNvSpPr>
            <a:spLocks noGrp="1" noChangeAspect="1"/>
          </p:cNvSpPr>
          <p:nvPr>
            <p:ph type="pic" idx="1"/>
          </p:nvPr>
        </p:nvSpPr>
        <p:spPr>
          <a:xfrm>
            <a:off x="4428528" y="1384831"/>
            <a:ext cx="4357792" cy="4154121"/>
          </a:xfrm>
          <a:prstGeom prst="rect">
            <a:avLst/>
          </a:prstGeom>
        </p:spPr>
        <p:txBody>
          <a:bodyPr anchor="t">
            <a:normAutofit/>
          </a:bodyPr>
          <a:lstStyle>
            <a:lvl1pPr marL="0" indent="0">
              <a:buNone/>
              <a:defRPr sz="28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357188" y="1523206"/>
            <a:ext cx="3220640" cy="3811588"/>
          </a:xfrm>
          <a:prstGeom prst="rect">
            <a:avLst/>
          </a:prstGeom>
        </p:spPr>
        <p:txBody>
          <a:bodyPr/>
          <a:lstStyle>
            <a:lvl1pPr marL="0" indent="0">
              <a:buNone/>
              <a:defRPr sz="16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6711D19-F5CD-FB41-8A60-C141171C249B}" type="datetime4">
              <a:rPr lang="it-IT" smtClean="0"/>
              <a:t>21 novembre 2024</a:t>
            </a:fld>
            <a:endParaRPr lang="en-US"/>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
        <p:nvSpPr>
          <p:cNvPr id="8" name="Text Placeholder 9">
            <a:extLst>
              <a:ext uri="{FF2B5EF4-FFF2-40B4-BE49-F238E27FC236}">
                <a16:creationId xmlns:a16="http://schemas.microsoft.com/office/drawing/2014/main" id="{EAB64243-3172-4596-8016-2E7B5DE3F9FD}"/>
              </a:ext>
            </a:extLst>
          </p:cNvPr>
          <p:cNvSpPr>
            <a:spLocks noGrp="1"/>
          </p:cNvSpPr>
          <p:nvPr>
            <p:ph type="body" sz="quarter" idx="13"/>
          </p:nvPr>
        </p:nvSpPr>
        <p:spPr>
          <a:xfrm>
            <a:off x="357188" y="5843588"/>
            <a:ext cx="8429625" cy="425450"/>
          </a:xfrm>
          <a:prstGeom prst="rect">
            <a:avLst/>
          </a:prstGeom>
        </p:spPr>
        <p:txBody>
          <a:bodyPr>
            <a:normAutofit/>
          </a:bodyPr>
          <a:lstStyle>
            <a:lvl1pPr marL="0" indent="0">
              <a:buNone/>
              <a:defRPr sz="1000">
                <a:solidFill>
                  <a:schemeClr val="accent6"/>
                </a:solidFill>
              </a:defRPr>
            </a:lvl1pPr>
          </a:lstStyle>
          <a:p>
            <a:pPr lvl="0"/>
            <a:r>
              <a:rPr lang="en-US"/>
              <a:t>Click to edit Master text styles</a:t>
            </a:r>
          </a:p>
        </p:txBody>
      </p:sp>
    </p:spTree>
    <p:extLst>
      <p:ext uri="{BB962C8B-B14F-4D97-AF65-F5344CB8AC3E}">
        <p14:creationId xmlns:p14="http://schemas.microsoft.com/office/powerpoint/2010/main" val="2179331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357188" y="365126"/>
            <a:ext cx="8158162" cy="744887"/>
          </a:xfrm>
        </p:spPr>
        <p:txBody>
          <a:bodyPr/>
          <a:lstStyle>
            <a:lvl1pPr>
              <a:defRPr>
                <a:solidFill>
                  <a:schemeClr val="tx1"/>
                </a:solidFill>
              </a:defRPr>
            </a:lvl1pPr>
          </a:lstStyle>
          <a:p>
            <a:r>
              <a:rPr lang="en-US"/>
              <a:t>Click to edit Master title style</a:t>
            </a:r>
          </a:p>
        </p:txBody>
      </p:sp>
      <p:sp>
        <p:nvSpPr>
          <p:cNvPr id="3" name="Vertical Text Placeholder 2"/>
          <p:cNvSpPr>
            <a:spLocks noGrp="1"/>
          </p:cNvSpPr>
          <p:nvPr>
            <p:ph type="body" orient="vert" idx="1"/>
          </p:nvPr>
        </p:nvSpPr>
        <p:spPr>
          <a:xfrm>
            <a:off x="357188" y="1486573"/>
            <a:ext cx="8429132" cy="3948363"/>
          </a:xfrm>
          <a:prstGeom prst="rect">
            <a:avLst/>
          </a:prstGeom>
        </p:spPr>
        <p:txBody>
          <a:bodyPr vert="eaVert"/>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1F628EE-2D82-134F-8B2B-C3FE5F89B256}" type="datetime4">
              <a:rPr lang="it-IT" smtClean="0"/>
              <a:t>21 novembre 2024</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
        <p:nvSpPr>
          <p:cNvPr id="7" name="Text Placeholder 9">
            <a:extLst>
              <a:ext uri="{FF2B5EF4-FFF2-40B4-BE49-F238E27FC236}">
                <a16:creationId xmlns:a16="http://schemas.microsoft.com/office/drawing/2014/main" id="{CC4FFF92-DC45-4459-AFF4-F3E798FCA62B}"/>
              </a:ext>
            </a:extLst>
          </p:cNvPr>
          <p:cNvSpPr>
            <a:spLocks noGrp="1"/>
          </p:cNvSpPr>
          <p:nvPr>
            <p:ph type="body" sz="quarter" idx="13"/>
          </p:nvPr>
        </p:nvSpPr>
        <p:spPr>
          <a:xfrm>
            <a:off x="357188" y="5843588"/>
            <a:ext cx="8429625" cy="425450"/>
          </a:xfrm>
          <a:prstGeom prst="rect">
            <a:avLst/>
          </a:prstGeom>
        </p:spPr>
        <p:txBody>
          <a:bodyPr>
            <a:normAutofit/>
          </a:bodyPr>
          <a:lstStyle>
            <a:lvl1pPr marL="0" indent="0">
              <a:buNone/>
              <a:defRPr sz="1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4555218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95" y="365126"/>
            <a:ext cx="8429625" cy="744887"/>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hasCustomPrompt="1"/>
          </p:nvPr>
        </p:nvSpPr>
        <p:spPr>
          <a:xfrm>
            <a:off x="356695" y="1412834"/>
            <a:ext cx="8429625" cy="425450"/>
          </a:xfrm>
          <a:prstGeom prst="rect">
            <a:avLst/>
          </a:prstGeom>
        </p:spPr>
        <p:txBody>
          <a:bodyPr>
            <a:normAutofit/>
          </a:bodyPr>
          <a:lstStyle>
            <a:lvl1pPr marL="0" indent="0">
              <a:buNone/>
              <a:defRPr sz="1400" b="1">
                <a:solidFill>
                  <a:schemeClr val="tx2"/>
                </a:solidFill>
              </a:defRPr>
            </a:lvl1pPr>
          </a:lstStyle>
          <a:p>
            <a:pPr lvl="0"/>
            <a:r>
              <a:rPr lang="en-US"/>
              <a:t>Action Title</a:t>
            </a:r>
          </a:p>
        </p:txBody>
      </p:sp>
      <p:sp>
        <p:nvSpPr>
          <p:cNvPr id="4" name="Date Placeholder 3"/>
          <p:cNvSpPr>
            <a:spLocks noGrp="1"/>
          </p:cNvSpPr>
          <p:nvPr>
            <p:ph type="dt" sz="half" idx="10"/>
          </p:nvPr>
        </p:nvSpPr>
        <p:spPr/>
        <p:txBody>
          <a:bodyPr/>
          <a:lstStyle>
            <a:lvl1pPr>
              <a:defRPr>
                <a:solidFill>
                  <a:schemeClr val="tx1"/>
                </a:solidFill>
              </a:defRPr>
            </a:lvl1pPr>
          </a:lstStyle>
          <a:p>
            <a:fld id="{A724678A-2C78-4C99-9558-F73DE61A6501}" type="datetime4">
              <a:rPr lang="en-US" smtClean="0"/>
              <a:pPr/>
              <a:t>November 21, 2024</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lvl1pPr>
              <a:defRPr>
                <a:solidFill>
                  <a:schemeClr val="tx1"/>
                </a:solidFill>
              </a:defRPr>
            </a:lvl1pPr>
          </a:lstStyle>
          <a:p>
            <a:r>
              <a:rPr lang="en-US"/>
              <a:t>Footer</a:t>
            </a: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330EA680-D336-4FF7-8B7A-9848BB0A1C32}" type="slidenum">
              <a:rPr lang="en-US" smtClean="0"/>
              <a:pPr/>
              <a:t>‹#›</a:t>
            </a:fld>
            <a:endParaRPr lang="en-US"/>
          </a:p>
        </p:txBody>
      </p:sp>
      <p:sp>
        <p:nvSpPr>
          <p:cNvPr id="7" name="Text Placeholder 9">
            <a:extLst>
              <a:ext uri="{FF2B5EF4-FFF2-40B4-BE49-F238E27FC236}">
                <a16:creationId xmlns:a16="http://schemas.microsoft.com/office/drawing/2014/main" id="{29BF601D-D7F7-4932-9CA3-B6414B08BD5E}"/>
              </a:ext>
            </a:extLst>
          </p:cNvPr>
          <p:cNvSpPr>
            <a:spLocks noGrp="1"/>
          </p:cNvSpPr>
          <p:nvPr>
            <p:ph type="body" sz="quarter" idx="13"/>
          </p:nvPr>
        </p:nvSpPr>
        <p:spPr>
          <a:xfrm>
            <a:off x="357188" y="5843588"/>
            <a:ext cx="8429625" cy="425450"/>
          </a:xfrm>
          <a:prstGeom prst="rect">
            <a:avLst/>
          </a:prstGeom>
        </p:spPr>
        <p:txBody>
          <a:bodyPr>
            <a:normAutofit/>
          </a:bodyPr>
          <a:lstStyle>
            <a:lvl1pPr marL="0" indent="0">
              <a:buNone/>
              <a:defRPr sz="1000">
                <a:solidFill>
                  <a:schemeClr val="accent6"/>
                </a:solidFill>
              </a:defRPr>
            </a:lvl1pPr>
          </a:lstStyle>
          <a:p>
            <a:pPr lvl="0"/>
            <a:endParaRPr lang="en-US"/>
          </a:p>
        </p:txBody>
      </p:sp>
      <p:sp>
        <p:nvSpPr>
          <p:cNvPr id="8" name="Content Placeholder 2">
            <a:extLst>
              <a:ext uri="{FF2B5EF4-FFF2-40B4-BE49-F238E27FC236}">
                <a16:creationId xmlns:a16="http://schemas.microsoft.com/office/drawing/2014/main" id="{C1FD82DF-12E1-41A2-8A73-E0015FE38055}"/>
              </a:ext>
            </a:extLst>
          </p:cNvPr>
          <p:cNvSpPr>
            <a:spLocks noGrp="1"/>
          </p:cNvSpPr>
          <p:nvPr>
            <p:ph idx="14" hasCustomPrompt="1"/>
          </p:nvPr>
        </p:nvSpPr>
        <p:spPr>
          <a:xfrm>
            <a:off x="356695" y="1928380"/>
            <a:ext cx="8429625" cy="3516786"/>
          </a:xfrm>
          <a:prstGeom prst="rect">
            <a:avLst/>
          </a:prstGeom>
        </p:spPr>
        <p:txBody>
          <a:bodyPr>
            <a:normAutofit/>
          </a:bodyPr>
          <a:lstStyle>
            <a:lvl1pPr marL="0" indent="0">
              <a:buNone/>
              <a:defRPr sz="1000">
                <a:solidFill>
                  <a:schemeClr val="tx1"/>
                </a:solidFill>
              </a:defRPr>
            </a:lvl1pPr>
          </a:lstStyle>
          <a:p>
            <a:pPr lvl="0"/>
            <a:r>
              <a:rPr lang="en-US"/>
              <a:t>Action Title</a:t>
            </a:r>
          </a:p>
        </p:txBody>
      </p:sp>
    </p:spTree>
    <p:extLst>
      <p:ext uri="{BB962C8B-B14F-4D97-AF65-F5344CB8AC3E}">
        <p14:creationId xmlns:p14="http://schemas.microsoft.com/office/powerpoint/2010/main" val="4323010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72D52-F248-4026-9AF1-92AE314DBD6B}"/>
              </a:ext>
            </a:extLst>
          </p:cNvPr>
          <p:cNvSpPr>
            <a:spLocks noGrp="1"/>
          </p:cNvSpPr>
          <p:nvPr>
            <p:ph type="title" hasCustomPrompt="1"/>
          </p:nvPr>
        </p:nvSpPr>
        <p:spPr/>
        <p:txBody>
          <a:bodyPr/>
          <a:lstStyle>
            <a:lvl1pPr>
              <a:defRPr>
                <a:solidFill>
                  <a:schemeClr val="tx1"/>
                </a:solidFill>
              </a:defRPr>
            </a:lvl1pPr>
          </a:lstStyle>
          <a:p>
            <a:r>
              <a:rPr lang="en-US"/>
              <a:t>Team</a:t>
            </a:r>
          </a:p>
        </p:txBody>
      </p:sp>
      <p:sp>
        <p:nvSpPr>
          <p:cNvPr id="3" name="Date Placeholder 2">
            <a:extLst>
              <a:ext uri="{FF2B5EF4-FFF2-40B4-BE49-F238E27FC236}">
                <a16:creationId xmlns:a16="http://schemas.microsoft.com/office/drawing/2014/main" id="{BA0CE136-AF5F-410D-B15F-A5EECE695A27}"/>
              </a:ext>
            </a:extLst>
          </p:cNvPr>
          <p:cNvSpPr>
            <a:spLocks noGrp="1"/>
          </p:cNvSpPr>
          <p:nvPr>
            <p:ph type="dt" sz="half" idx="10"/>
          </p:nvPr>
        </p:nvSpPr>
        <p:spPr/>
        <p:txBody>
          <a:bodyPr/>
          <a:lstStyle/>
          <a:p>
            <a:fld id="{93237577-407E-1B40-B7A7-37823A042DE4}" type="datetime4">
              <a:rPr lang="it-IT" smtClean="0"/>
              <a:t>21 novembre 2024</a:t>
            </a:fld>
            <a:endParaRPr lang="en-US"/>
          </a:p>
        </p:txBody>
      </p:sp>
      <p:sp>
        <p:nvSpPr>
          <p:cNvPr id="4" name="Slide Number Placeholder 3">
            <a:extLst>
              <a:ext uri="{FF2B5EF4-FFF2-40B4-BE49-F238E27FC236}">
                <a16:creationId xmlns:a16="http://schemas.microsoft.com/office/drawing/2014/main" id="{3BA7994A-1DBC-42DA-9996-3930D791C098}"/>
              </a:ext>
            </a:extLst>
          </p:cNvPr>
          <p:cNvSpPr>
            <a:spLocks noGrp="1"/>
          </p:cNvSpPr>
          <p:nvPr>
            <p:ph type="sldNum" sz="quarter" idx="11"/>
          </p:nvPr>
        </p:nvSpPr>
        <p:spPr/>
        <p:txBody>
          <a:bodyPr/>
          <a:lstStyle/>
          <a:p>
            <a:fld id="{89BE3C81-78D6-4C4B-AF0E-1C8704E0A56F}" type="slidenum">
              <a:rPr lang="en-US" smtClean="0"/>
              <a:pPr/>
              <a:t>‹#›</a:t>
            </a:fld>
            <a:endParaRPr lang="en-US"/>
          </a:p>
        </p:txBody>
      </p:sp>
      <p:sp>
        <p:nvSpPr>
          <p:cNvPr id="5" name="Footer Placeholder 4">
            <a:extLst>
              <a:ext uri="{FF2B5EF4-FFF2-40B4-BE49-F238E27FC236}">
                <a16:creationId xmlns:a16="http://schemas.microsoft.com/office/drawing/2014/main" id="{B5CA5834-21E9-473F-A43D-50A57EAC1403}"/>
              </a:ext>
            </a:extLst>
          </p:cNvPr>
          <p:cNvSpPr>
            <a:spLocks noGrp="1"/>
          </p:cNvSpPr>
          <p:nvPr>
            <p:ph type="ftr" sz="quarter" idx="12"/>
          </p:nvPr>
        </p:nvSpPr>
        <p:spPr/>
        <p:txBody>
          <a:bodyPr/>
          <a:lstStyle/>
          <a:p>
            <a:endParaRPr lang="en-US"/>
          </a:p>
        </p:txBody>
      </p:sp>
      <p:sp>
        <p:nvSpPr>
          <p:cNvPr id="7" name="Picture Placeholder 6">
            <a:extLst>
              <a:ext uri="{FF2B5EF4-FFF2-40B4-BE49-F238E27FC236}">
                <a16:creationId xmlns:a16="http://schemas.microsoft.com/office/drawing/2014/main" id="{56EDB6D1-AD9D-4040-9727-40D1F4002A87}"/>
              </a:ext>
            </a:extLst>
          </p:cNvPr>
          <p:cNvSpPr>
            <a:spLocks noGrp="1" noChangeAspect="1"/>
          </p:cNvSpPr>
          <p:nvPr>
            <p:ph type="pic" sz="quarter" idx="13"/>
          </p:nvPr>
        </p:nvSpPr>
        <p:spPr>
          <a:xfrm>
            <a:off x="689020" y="1671479"/>
            <a:ext cx="1394720" cy="1302518"/>
          </a:xfrm>
          <a:prstGeom prst="flowChartConnector">
            <a:avLst/>
          </a:prstGeom>
        </p:spPr>
        <p:txBody>
          <a:bodyPr>
            <a:normAutofit/>
          </a:bodyPr>
          <a:lstStyle>
            <a:lvl1pPr>
              <a:defRPr sz="1400"/>
            </a:lvl1pPr>
          </a:lstStyle>
          <a:p>
            <a:r>
              <a:rPr lang="en-US"/>
              <a:t>Click icon to add picture</a:t>
            </a:r>
          </a:p>
        </p:txBody>
      </p:sp>
      <p:sp>
        <p:nvSpPr>
          <p:cNvPr id="10" name="Picture Placeholder 6">
            <a:extLst>
              <a:ext uri="{FF2B5EF4-FFF2-40B4-BE49-F238E27FC236}">
                <a16:creationId xmlns:a16="http://schemas.microsoft.com/office/drawing/2014/main" id="{52EB7E63-0B65-4FAE-9101-C5B84225280D}"/>
              </a:ext>
            </a:extLst>
          </p:cNvPr>
          <p:cNvSpPr>
            <a:spLocks noGrp="1" noChangeAspect="1"/>
          </p:cNvSpPr>
          <p:nvPr>
            <p:ph type="pic" sz="quarter" idx="14"/>
          </p:nvPr>
        </p:nvSpPr>
        <p:spPr>
          <a:xfrm>
            <a:off x="3874640" y="3332084"/>
            <a:ext cx="1394720" cy="1302518"/>
          </a:xfrm>
          <a:prstGeom prst="flowChartConnector">
            <a:avLst/>
          </a:prstGeom>
        </p:spPr>
        <p:txBody>
          <a:bodyPr>
            <a:normAutofit/>
          </a:bodyPr>
          <a:lstStyle>
            <a:lvl1pPr algn="l">
              <a:defRPr sz="1600"/>
            </a:lvl1pPr>
          </a:lstStyle>
          <a:p>
            <a:r>
              <a:rPr lang="en-US"/>
              <a:t>Click icon to add picture</a:t>
            </a:r>
          </a:p>
        </p:txBody>
      </p:sp>
      <p:sp>
        <p:nvSpPr>
          <p:cNvPr id="11" name="Picture Placeholder 6">
            <a:extLst>
              <a:ext uri="{FF2B5EF4-FFF2-40B4-BE49-F238E27FC236}">
                <a16:creationId xmlns:a16="http://schemas.microsoft.com/office/drawing/2014/main" id="{A5B8D000-8CE8-4EF5-A7C1-11842EA7D84B}"/>
              </a:ext>
            </a:extLst>
          </p:cNvPr>
          <p:cNvSpPr>
            <a:spLocks noGrp="1" noChangeAspect="1"/>
          </p:cNvSpPr>
          <p:nvPr>
            <p:ph type="pic" sz="quarter" idx="15"/>
          </p:nvPr>
        </p:nvSpPr>
        <p:spPr>
          <a:xfrm>
            <a:off x="689020" y="3332084"/>
            <a:ext cx="1394720" cy="1302518"/>
          </a:xfrm>
          <a:prstGeom prst="flowChartConnector">
            <a:avLst/>
          </a:prstGeom>
        </p:spPr>
        <p:txBody>
          <a:bodyPr>
            <a:normAutofit/>
          </a:bodyPr>
          <a:lstStyle>
            <a:lvl1pPr>
              <a:defRPr sz="1400"/>
            </a:lvl1pPr>
          </a:lstStyle>
          <a:p>
            <a:r>
              <a:rPr lang="en-US"/>
              <a:t>Click icon to add picture</a:t>
            </a:r>
          </a:p>
        </p:txBody>
      </p:sp>
      <p:sp>
        <p:nvSpPr>
          <p:cNvPr id="12" name="Picture Placeholder 6">
            <a:extLst>
              <a:ext uri="{FF2B5EF4-FFF2-40B4-BE49-F238E27FC236}">
                <a16:creationId xmlns:a16="http://schemas.microsoft.com/office/drawing/2014/main" id="{91C43061-A00A-423D-A774-7328F328D49E}"/>
              </a:ext>
            </a:extLst>
          </p:cNvPr>
          <p:cNvSpPr>
            <a:spLocks noGrp="1" noChangeAspect="1"/>
          </p:cNvSpPr>
          <p:nvPr>
            <p:ph type="pic" sz="quarter" idx="16"/>
          </p:nvPr>
        </p:nvSpPr>
        <p:spPr>
          <a:xfrm>
            <a:off x="7060260" y="3332389"/>
            <a:ext cx="1394720" cy="1302518"/>
          </a:xfrm>
          <a:prstGeom prst="flowChartConnector">
            <a:avLst/>
          </a:prstGeom>
        </p:spPr>
        <p:txBody>
          <a:bodyPr>
            <a:normAutofit/>
          </a:bodyPr>
          <a:lstStyle>
            <a:lvl1pPr>
              <a:defRPr sz="1600"/>
            </a:lvl1pPr>
          </a:lstStyle>
          <a:p>
            <a:r>
              <a:rPr lang="en-US"/>
              <a:t>Click icon to add picture</a:t>
            </a:r>
          </a:p>
        </p:txBody>
      </p:sp>
      <p:sp>
        <p:nvSpPr>
          <p:cNvPr id="16" name="Text Placeholder 15">
            <a:extLst>
              <a:ext uri="{FF2B5EF4-FFF2-40B4-BE49-F238E27FC236}">
                <a16:creationId xmlns:a16="http://schemas.microsoft.com/office/drawing/2014/main" id="{8FEDEA6F-A98B-4E33-A146-4DD132DAF8C6}"/>
              </a:ext>
            </a:extLst>
          </p:cNvPr>
          <p:cNvSpPr>
            <a:spLocks noGrp="1"/>
          </p:cNvSpPr>
          <p:nvPr>
            <p:ph type="body" sz="quarter" idx="18" hasCustomPrompt="1"/>
          </p:nvPr>
        </p:nvSpPr>
        <p:spPr>
          <a:xfrm>
            <a:off x="357680" y="4693368"/>
            <a:ext cx="2057400" cy="900303"/>
          </a:xfrm>
        </p:spPr>
        <p:txBody>
          <a:bodyPr>
            <a:normAutofit/>
          </a:bodyPr>
          <a:lstStyle>
            <a:lvl1pPr marL="0" indent="0">
              <a:lnSpc>
                <a:spcPct val="100000"/>
              </a:lnSpc>
              <a:spcBef>
                <a:spcPts val="0"/>
              </a:spcBef>
              <a:buNone/>
              <a:defRPr sz="1400"/>
            </a:lvl1pPr>
          </a:lstStyle>
          <a:p>
            <a:pPr lvl="0"/>
            <a:r>
              <a:rPr lang="en-US"/>
              <a:t>Name Surname </a:t>
            </a:r>
          </a:p>
          <a:p>
            <a:pPr lvl="0"/>
            <a:r>
              <a:rPr lang="en-US"/>
              <a:t>Ro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LinkedIn logo (with hyperlink)</a:t>
            </a:r>
          </a:p>
          <a:p>
            <a:pPr lvl="0"/>
            <a:endParaRPr lang="en-US"/>
          </a:p>
          <a:p>
            <a:pPr lvl="0"/>
            <a:endParaRPr lang="en-US"/>
          </a:p>
        </p:txBody>
      </p:sp>
      <p:sp>
        <p:nvSpPr>
          <p:cNvPr id="21" name="Text Placeholder 15">
            <a:extLst>
              <a:ext uri="{FF2B5EF4-FFF2-40B4-BE49-F238E27FC236}">
                <a16:creationId xmlns:a16="http://schemas.microsoft.com/office/drawing/2014/main" id="{1B2328BC-D54E-4588-936F-728640414674}"/>
              </a:ext>
            </a:extLst>
          </p:cNvPr>
          <p:cNvSpPr>
            <a:spLocks noGrp="1"/>
          </p:cNvSpPr>
          <p:nvPr>
            <p:ph type="body" sz="quarter" idx="21" hasCustomPrompt="1"/>
          </p:nvPr>
        </p:nvSpPr>
        <p:spPr>
          <a:xfrm>
            <a:off x="3768519" y="4693368"/>
            <a:ext cx="1606962" cy="900303"/>
          </a:xfrm>
        </p:spPr>
        <p:txBody>
          <a:bodyPr>
            <a:normAutofit/>
          </a:bodyPr>
          <a:lstStyle>
            <a:lvl1pPr marL="0" indent="0">
              <a:lnSpc>
                <a:spcPct val="100000"/>
              </a:lnSpc>
              <a:spcBef>
                <a:spcPts val="0"/>
              </a:spcBef>
              <a:buNone/>
              <a:defRPr sz="1400"/>
            </a:lvl1pPr>
          </a:lstStyle>
          <a:p>
            <a:pPr lvl="0"/>
            <a:r>
              <a:rPr lang="en-US"/>
              <a:t>Name Surname </a:t>
            </a:r>
          </a:p>
          <a:p>
            <a:pPr lvl="0"/>
            <a:r>
              <a:rPr lang="en-US"/>
              <a:t>Ro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LinkedIn logo (with hyperlink)</a:t>
            </a:r>
          </a:p>
          <a:p>
            <a:pPr lvl="0"/>
            <a:endParaRPr lang="en-US"/>
          </a:p>
          <a:p>
            <a:pPr lvl="0"/>
            <a:endParaRPr lang="en-US"/>
          </a:p>
        </p:txBody>
      </p:sp>
      <p:sp>
        <p:nvSpPr>
          <p:cNvPr id="22" name="Text Placeholder 15">
            <a:extLst>
              <a:ext uri="{FF2B5EF4-FFF2-40B4-BE49-F238E27FC236}">
                <a16:creationId xmlns:a16="http://schemas.microsoft.com/office/drawing/2014/main" id="{82EDA4E5-1442-412C-9D4C-BC03BC44DB6E}"/>
              </a:ext>
            </a:extLst>
          </p:cNvPr>
          <p:cNvSpPr>
            <a:spLocks noGrp="1"/>
          </p:cNvSpPr>
          <p:nvPr>
            <p:ph type="body" sz="quarter" idx="22" hasCustomPrompt="1"/>
          </p:nvPr>
        </p:nvSpPr>
        <p:spPr>
          <a:xfrm>
            <a:off x="6954139" y="4693368"/>
            <a:ext cx="1606962" cy="900303"/>
          </a:xfrm>
        </p:spPr>
        <p:txBody>
          <a:bodyPr>
            <a:normAutofit/>
          </a:bodyPr>
          <a:lstStyle>
            <a:lvl1pPr marL="0" indent="0">
              <a:lnSpc>
                <a:spcPct val="100000"/>
              </a:lnSpc>
              <a:spcBef>
                <a:spcPts val="0"/>
              </a:spcBef>
              <a:buNone/>
              <a:defRPr sz="1400"/>
            </a:lvl1pPr>
          </a:lstStyle>
          <a:p>
            <a:pPr lvl="0"/>
            <a:r>
              <a:rPr lang="en-US"/>
              <a:t>Name Surname </a:t>
            </a:r>
          </a:p>
          <a:p>
            <a:pPr lvl="0"/>
            <a:r>
              <a:rPr lang="en-US"/>
              <a:t>Ro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LinkedIn logo (with hyperlink)</a:t>
            </a:r>
          </a:p>
          <a:p>
            <a:pPr lvl="0"/>
            <a:endParaRPr lang="en-US"/>
          </a:p>
          <a:p>
            <a:pPr lvl="0"/>
            <a:endParaRPr lang="en-US"/>
          </a:p>
        </p:txBody>
      </p:sp>
      <p:sp>
        <p:nvSpPr>
          <p:cNvPr id="27" name="Text Placeholder 15">
            <a:extLst>
              <a:ext uri="{FF2B5EF4-FFF2-40B4-BE49-F238E27FC236}">
                <a16:creationId xmlns:a16="http://schemas.microsoft.com/office/drawing/2014/main" id="{0374B2A4-BC25-43A6-9291-A52B1247BFE1}"/>
              </a:ext>
            </a:extLst>
          </p:cNvPr>
          <p:cNvSpPr>
            <a:spLocks noGrp="1"/>
          </p:cNvSpPr>
          <p:nvPr>
            <p:ph type="body" sz="quarter" idx="23" hasCustomPrompt="1"/>
          </p:nvPr>
        </p:nvSpPr>
        <p:spPr>
          <a:xfrm>
            <a:off x="2225469" y="1778667"/>
            <a:ext cx="1606962" cy="1088141"/>
          </a:xfrm>
        </p:spPr>
        <p:txBody>
          <a:bodyPr>
            <a:normAutofit/>
          </a:bodyPr>
          <a:lstStyle>
            <a:lvl1pPr marL="0" indent="0">
              <a:lnSpc>
                <a:spcPct val="100000"/>
              </a:lnSpc>
              <a:spcBef>
                <a:spcPts val="0"/>
              </a:spcBef>
              <a:buNone/>
              <a:defRPr sz="1400"/>
            </a:lvl1pPr>
          </a:lstStyle>
          <a:p>
            <a:pPr lvl="0"/>
            <a:r>
              <a:rPr lang="en-US"/>
              <a:t>Name Surname </a:t>
            </a:r>
          </a:p>
          <a:p>
            <a:pPr lvl="0"/>
            <a:r>
              <a:rPr lang="en-US"/>
              <a:t>Role</a:t>
            </a:r>
          </a:p>
          <a:p>
            <a:pPr lvl="0"/>
            <a:r>
              <a:rPr lang="en-US"/>
              <a:t>LinkedIn logo (with hyperlink)</a:t>
            </a:r>
          </a:p>
          <a:p>
            <a:pPr lvl="0"/>
            <a:endParaRPr lang="en-US"/>
          </a:p>
        </p:txBody>
      </p:sp>
    </p:spTree>
    <p:extLst>
      <p:ext uri="{BB962C8B-B14F-4D97-AF65-F5344CB8AC3E}">
        <p14:creationId xmlns:p14="http://schemas.microsoft.com/office/powerpoint/2010/main" val="9226940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Ending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E7DF8-59E0-41D4-AB81-6FD894F5680B}"/>
              </a:ext>
            </a:extLst>
          </p:cNvPr>
          <p:cNvSpPr>
            <a:spLocks noGrp="1"/>
          </p:cNvSpPr>
          <p:nvPr>
            <p:ph type="title"/>
          </p:nvPr>
        </p:nvSpPr>
        <p:spPr/>
        <p:txBody>
          <a:bodyPr/>
          <a:lstStyle/>
          <a:p>
            <a:r>
              <a:rPr lang="en-US"/>
              <a:t>Click to edit Master title style</a:t>
            </a:r>
            <a:endParaRPr lang="en-CH"/>
          </a:p>
        </p:txBody>
      </p:sp>
      <p:sp>
        <p:nvSpPr>
          <p:cNvPr id="3" name="Date Placeholder 2">
            <a:extLst>
              <a:ext uri="{FF2B5EF4-FFF2-40B4-BE49-F238E27FC236}">
                <a16:creationId xmlns:a16="http://schemas.microsoft.com/office/drawing/2014/main" id="{DF9C4A60-D8F6-46DA-B5AB-0E4CAE5BC63A}"/>
              </a:ext>
            </a:extLst>
          </p:cNvPr>
          <p:cNvSpPr>
            <a:spLocks noGrp="1"/>
          </p:cNvSpPr>
          <p:nvPr>
            <p:ph type="dt" sz="half" idx="10"/>
          </p:nvPr>
        </p:nvSpPr>
        <p:spPr/>
        <p:txBody>
          <a:bodyPr/>
          <a:lstStyle/>
          <a:p>
            <a:fld id="{2932D87A-FAF3-F344-B14F-61FD9ADC4E75}" type="datetime4">
              <a:rPr lang="it-IT" smtClean="0"/>
              <a:t>21 novembre 2024</a:t>
            </a:fld>
            <a:endParaRPr lang="en-US"/>
          </a:p>
        </p:txBody>
      </p:sp>
      <p:sp>
        <p:nvSpPr>
          <p:cNvPr id="4" name="Slide Number Placeholder 3">
            <a:extLst>
              <a:ext uri="{FF2B5EF4-FFF2-40B4-BE49-F238E27FC236}">
                <a16:creationId xmlns:a16="http://schemas.microsoft.com/office/drawing/2014/main" id="{CF5C09D4-9D56-43CC-8467-9570FFD12D6A}"/>
              </a:ext>
            </a:extLst>
          </p:cNvPr>
          <p:cNvSpPr>
            <a:spLocks noGrp="1"/>
          </p:cNvSpPr>
          <p:nvPr>
            <p:ph type="sldNum" sz="quarter" idx="11"/>
          </p:nvPr>
        </p:nvSpPr>
        <p:spPr/>
        <p:txBody>
          <a:bodyPr/>
          <a:lstStyle/>
          <a:p>
            <a:fld id="{89BE3C81-78D6-4C4B-AF0E-1C8704E0A56F}" type="slidenum">
              <a:rPr lang="en-US" smtClean="0"/>
              <a:pPr/>
              <a:t>‹#›</a:t>
            </a:fld>
            <a:endParaRPr lang="en-US"/>
          </a:p>
        </p:txBody>
      </p:sp>
      <p:sp>
        <p:nvSpPr>
          <p:cNvPr id="5" name="Footer Placeholder 4">
            <a:extLst>
              <a:ext uri="{FF2B5EF4-FFF2-40B4-BE49-F238E27FC236}">
                <a16:creationId xmlns:a16="http://schemas.microsoft.com/office/drawing/2014/main" id="{50CCC677-FC1B-444F-9C81-2F6CE62A279F}"/>
              </a:ext>
            </a:extLst>
          </p:cNvPr>
          <p:cNvSpPr>
            <a:spLocks noGrp="1"/>
          </p:cNvSpPr>
          <p:nvPr>
            <p:ph type="ftr" sz="quarter" idx="12"/>
          </p:nvPr>
        </p:nvSpPr>
        <p:spPr/>
        <p:txBody>
          <a:bodyPr/>
          <a:lstStyle/>
          <a:p>
            <a:endParaRPr lang="en-US"/>
          </a:p>
        </p:txBody>
      </p:sp>
      <p:pic>
        <p:nvPicPr>
          <p:cNvPr id="1030" name="Picture 6">
            <a:extLst>
              <a:ext uri="{FF2B5EF4-FFF2-40B4-BE49-F238E27FC236}">
                <a16:creationId xmlns:a16="http://schemas.microsoft.com/office/drawing/2014/main" id="{D21A080C-51FA-4DC2-B311-B0C8A1DEBD6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EF9C597F-5807-4C79-A97D-BDA19E4EBA6C}"/>
              </a:ext>
            </a:extLst>
          </p:cNvPr>
          <p:cNvSpPr/>
          <p:nvPr/>
        </p:nvSpPr>
        <p:spPr>
          <a:xfrm>
            <a:off x="2" y="1"/>
            <a:ext cx="9143998" cy="6857999"/>
          </a:xfrm>
          <a:prstGeom prst="rect">
            <a:avLst/>
          </a:prstGeom>
          <a:solidFill>
            <a:srgbClr val="000000">
              <a:alpha val="69804"/>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None/>
            </a:pPr>
            <a:endParaRPr lang="en-GB" sz="3600">
              <a:solidFill>
                <a:schemeClr val="bg1"/>
              </a:solidFill>
              <a:ea typeface="Roboto"/>
              <a:cs typeface="Roboto"/>
              <a:sym typeface="Roboto"/>
            </a:endParaRPr>
          </a:p>
        </p:txBody>
      </p:sp>
      <p:sp>
        <p:nvSpPr>
          <p:cNvPr id="13" name="TextBox 12">
            <a:extLst>
              <a:ext uri="{FF2B5EF4-FFF2-40B4-BE49-F238E27FC236}">
                <a16:creationId xmlns:a16="http://schemas.microsoft.com/office/drawing/2014/main" id="{92FC2C2C-C338-4065-AC74-E8C3A4857A25}"/>
              </a:ext>
            </a:extLst>
          </p:cNvPr>
          <p:cNvSpPr txBox="1"/>
          <p:nvPr/>
        </p:nvSpPr>
        <p:spPr>
          <a:xfrm>
            <a:off x="5870296" y="5565272"/>
            <a:ext cx="3121304" cy="369332"/>
          </a:xfrm>
          <a:prstGeom prst="rect">
            <a:avLst/>
          </a:prstGeom>
          <a:noFill/>
        </p:spPr>
        <p:txBody>
          <a:bodyPr wrap="none" rtlCol="0">
            <a:spAutoFit/>
          </a:bodyPr>
          <a:lstStyle/>
          <a:p>
            <a:r>
              <a:rPr lang="en-US" b="1">
                <a:solidFill>
                  <a:schemeClr val="accent1"/>
                </a:solidFill>
                <a:latin typeface="Arial" panose="020B0604020202020204" pitchFamily="34" charset="0"/>
                <a:cs typeface="Arial" panose="020B0604020202020204" pitchFamily="34" charset="0"/>
              </a:rPr>
              <a:t>www.bsfintechsociety.com</a:t>
            </a:r>
            <a:endParaRPr lang="en-CH" b="1">
              <a:solidFill>
                <a:schemeClr val="accent1"/>
              </a:solidFill>
              <a:latin typeface="Arial" panose="020B0604020202020204" pitchFamily="34" charset="0"/>
              <a:cs typeface="Arial" panose="020B0604020202020204" pitchFamily="34" charset="0"/>
            </a:endParaRPr>
          </a:p>
        </p:txBody>
      </p:sp>
      <p:sp>
        <p:nvSpPr>
          <p:cNvPr id="17" name="Google Shape;25;p9">
            <a:extLst>
              <a:ext uri="{FF2B5EF4-FFF2-40B4-BE49-F238E27FC236}">
                <a16:creationId xmlns:a16="http://schemas.microsoft.com/office/drawing/2014/main" id="{8AEF8136-3031-44FB-91D9-BC21959EEB44}"/>
              </a:ext>
            </a:extLst>
          </p:cNvPr>
          <p:cNvSpPr txBox="1"/>
          <p:nvPr/>
        </p:nvSpPr>
        <p:spPr>
          <a:xfrm>
            <a:off x="155448" y="6075186"/>
            <a:ext cx="8836152" cy="64629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600" b="0" i="0" u="none" strike="noStrike" cap="none">
                <a:solidFill>
                  <a:schemeClr val="accent1"/>
                </a:solidFill>
                <a:latin typeface="Arial"/>
                <a:ea typeface="Arial"/>
                <a:cs typeface="Arial"/>
                <a:sym typeface="Arial"/>
              </a:rPr>
              <a:t>Following presentation may have included forward-looking statements. These statements are not historical facts, but instead represent only our belief regarding future events, many of which, by their nature, are inherently uncertain and outside of our control. It is possible that the Firm’s actual results and financial condition may differ, possibly materially, from the anticipated results and financial condition indicated in these forward-looking statements. These materials are based on information provided by the internet or otherwise reviewed by us. We have assumed that such estimates and forecasts have been reasonably prepared on bases reflecting the best currently available estimates and judgments. These materials are not intended to provide the sole basis for evaluating and should not be considered a recommendation with respect to any transaction or other matter. Prior to entering any transaction you should determine, without reliance on us, the economic risks and merits as well as the legal, tax and accounting characterizations and consequences of any such transaction. These materials do not constitute an offer or solicitation to sell or purchase any securities and are not a commitment by us to provide or arrange any financing for any transaction or to purchase any security in connection therewith. We assume no obligation to update or otherwise revise these materials. </a:t>
            </a:r>
            <a:endParaRPr sz="1100">
              <a:solidFill>
                <a:schemeClr val="accent1"/>
              </a:solidFill>
            </a:endParaRPr>
          </a:p>
        </p:txBody>
      </p:sp>
      <p:pic>
        <p:nvPicPr>
          <p:cNvPr id="14" name="Picture 13" descr="Transparent Background Social Media Icons Vector , Transparent Cartoon -  Jing.fm">
            <a:hlinkClick r:id="rId3"/>
            <a:extLst>
              <a:ext uri="{FF2B5EF4-FFF2-40B4-BE49-F238E27FC236}">
                <a16:creationId xmlns:a16="http://schemas.microsoft.com/office/drawing/2014/main" id="{DEB5736D-AC8C-452D-91F3-FA4C3376CEFB}"/>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024648" y="1110013"/>
            <a:ext cx="550545" cy="5571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Transparent Background Social Media Icons Vector , Transparent Cartoon -  Jing.fm">
            <a:hlinkClick r:id="rId5"/>
            <a:extLst>
              <a:ext uri="{FF2B5EF4-FFF2-40B4-BE49-F238E27FC236}">
                <a16:creationId xmlns:a16="http://schemas.microsoft.com/office/drawing/2014/main" id="{754D06E1-3F0F-47FC-9064-4B9F6FC488A9}"/>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1020374" y="1742473"/>
            <a:ext cx="554819" cy="55718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Transparent Background Social Media Icons Vector , Transparent Cartoon -  Jing.fm">
            <a:hlinkClick r:id="rId7"/>
            <a:extLst>
              <a:ext uri="{FF2B5EF4-FFF2-40B4-BE49-F238E27FC236}">
                <a16:creationId xmlns:a16="http://schemas.microsoft.com/office/drawing/2014/main" id="{31550D9E-16A1-40E1-B303-96D707EAA39E}"/>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1020374" y="2381632"/>
            <a:ext cx="554819" cy="55718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A56D9985-0664-4E03-A190-27D01361C07D}"/>
              </a:ext>
            </a:extLst>
          </p:cNvPr>
          <p:cNvSpPr/>
          <p:nvPr/>
        </p:nvSpPr>
        <p:spPr>
          <a:xfrm>
            <a:off x="1153003" y="2523992"/>
            <a:ext cx="289560" cy="28956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a:p>
        </p:txBody>
      </p:sp>
      <p:pic>
        <p:nvPicPr>
          <p:cNvPr id="19" name="Picture 18" descr="Website Logo PNG, Web Site Logos Free Download - Free Transparent PNG Logos">
            <a:hlinkClick r:id="rId8"/>
            <a:extLst>
              <a:ext uri="{FF2B5EF4-FFF2-40B4-BE49-F238E27FC236}">
                <a16:creationId xmlns:a16="http://schemas.microsoft.com/office/drawing/2014/main" id="{C2F5B890-B370-4FA5-8933-0CD1EC031E26}"/>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153003" y="2515442"/>
            <a:ext cx="289560" cy="28956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Transparent Background Social Media Icons Vector , Transparent Cartoon -  Jing.fm">
            <a:hlinkClick r:id="rId10"/>
            <a:extLst>
              <a:ext uri="{FF2B5EF4-FFF2-40B4-BE49-F238E27FC236}">
                <a16:creationId xmlns:a16="http://schemas.microsoft.com/office/drawing/2014/main" id="{9A48C3F2-8C8D-4048-81C2-82C977E780E9}"/>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1020374" y="3012134"/>
            <a:ext cx="554819" cy="55718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CA03CCF5-A3AA-4CEF-9144-4D9CAF03D220}"/>
              </a:ext>
            </a:extLst>
          </p:cNvPr>
          <p:cNvSpPr/>
          <p:nvPr/>
        </p:nvSpPr>
        <p:spPr>
          <a:xfrm>
            <a:off x="1153003" y="3144082"/>
            <a:ext cx="268092" cy="268092"/>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a:p>
        </p:txBody>
      </p:sp>
      <p:pic>
        <p:nvPicPr>
          <p:cNvPr id="22" name="Picture 21" descr="Download Mail Icon Vector Png - Email Png PNG Image with No Background -  PNGkey.com">
            <a:hlinkClick r:id="rId10"/>
            <a:extLst>
              <a:ext uri="{FF2B5EF4-FFF2-40B4-BE49-F238E27FC236}">
                <a16:creationId xmlns:a16="http://schemas.microsoft.com/office/drawing/2014/main" id="{BAAA7C6E-5319-4F24-9C85-5B8F902DFFE9}"/>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153734" y="3156678"/>
            <a:ext cx="288829" cy="268092"/>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2D6BF818-1D85-4FBA-9AA2-F626DAA80DF6}"/>
              </a:ext>
            </a:extLst>
          </p:cNvPr>
          <p:cNvSpPr/>
          <p:nvPr/>
        </p:nvSpPr>
        <p:spPr>
          <a:xfrm>
            <a:off x="1645753" y="1218232"/>
            <a:ext cx="4839101" cy="340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GB" sz="1200" b="1">
                <a:solidFill>
                  <a:schemeClr val="bg2"/>
                </a:solidFill>
                <a:latin typeface="Arial" panose="020B0604020202020204" pitchFamily="34" charset="0"/>
                <a:cs typeface="Arial" panose="020B0604020202020204" pitchFamily="34" charset="0"/>
              </a:rPr>
              <a:t>Instagram.com/bocconistudentsfintechsociety</a:t>
            </a:r>
          </a:p>
        </p:txBody>
      </p:sp>
      <p:sp>
        <p:nvSpPr>
          <p:cNvPr id="24" name="Rectangle 23">
            <a:extLst>
              <a:ext uri="{FF2B5EF4-FFF2-40B4-BE49-F238E27FC236}">
                <a16:creationId xmlns:a16="http://schemas.microsoft.com/office/drawing/2014/main" id="{2ABDC6B6-2430-44CA-825E-8B74A2C8AA3C}"/>
              </a:ext>
            </a:extLst>
          </p:cNvPr>
          <p:cNvSpPr/>
          <p:nvPr/>
        </p:nvSpPr>
        <p:spPr>
          <a:xfrm>
            <a:off x="1645753" y="1852272"/>
            <a:ext cx="4494196" cy="340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GB" sz="1200" b="1">
                <a:solidFill>
                  <a:schemeClr val="bg2"/>
                </a:solidFill>
                <a:latin typeface="Arial" panose="020B0604020202020204" pitchFamily="34" charset="0"/>
                <a:cs typeface="Arial" panose="020B0604020202020204" pitchFamily="34" charset="0"/>
              </a:rPr>
              <a:t>LinkedIn.com/company/bsfintechsociety</a:t>
            </a:r>
          </a:p>
        </p:txBody>
      </p:sp>
      <p:sp>
        <p:nvSpPr>
          <p:cNvPr id="25" name="Rectangle 24">
            <a:extLst>
              <a:ext uri="{FF2B5EF4-FFF2-40B4-BE49-F238E27FC236}">
                <a16:creationId xmlns:a16="http://schemas.microsoft.com/office/drawing/2014/main" id="{C24FA779-E778-4EDC-B48C-912EAFD87343}"/>
              </a:ext>
            </a:extLst>
          </p:cNvPr>
          <p:cNvSpPr/>
          <p:nvPr/>
        </p:nvSpPr>
        <p:spPr>
          <a:xfrm>
            <a:off x="1645753" y="2486312"/>
            <a:ext cx="1949664" cy="340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GB" sz="1200" b="1">
                <a:solidFill>
                  <a:schemeClr val="bg2"/>
                </a:solidFill>
                <a:latin typeface="Arial" panose="020B0604020202020204" pitchFamily="34" charset="0"/>
                <a:cs typeface="Arial" panose="020B0604020202020204" pitchFamily="34" charset="0"/>
              </a:rPr>
              <a:t>Bsfintechsociety.com</a:t>
            </a:r>
          </a:p>
        </p:txBody>
      </p:sp>
      <p:sp>
        <p:nvSpPr>
          <p:cNvPr id="26" name="Rectangle 25">
            <a:extLst>
              <a:ext uri="{FF2B5EF4-FFF2-40B4-BE49-F238E27FC236}">
                <a16:creationId xmlns:a16="http://schemas.microsoft.com/office/drawing/2014/main" id="{98C4EE85-C7DF-4058-AE6B-B56D834C51E9}"/>
              </a:ext>
            </a:extLst>
          </p:cNvPr>
          <p:cNvSpPr/>
          <p:nvPr/>
        </p:nvSpPr>
        <p:spPr>
          <a:xfrm>
            <a:off x="1645753" y="3120353"/>
            <a:ext cx="3435417" cy="340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GB" sz="1200" b="1">
                <a:solidFill>
                  <a:schemeClr val="bg2"/>
                </a:solidFill>
                <a:latin typeface="Arial" panose="020B0604020202020204" pitchFamily="34" charset="0"/>
                <a:cs typeface="Arial" panose="020B0604020202020204" pitchFamily="34" charset="0"/>
              </a:rPr>
              <a:t>As.bsfintechsociety@unibocconi.it</a:t>
            </a:r>
          </a:p>
        </p:txBody>
      </p:sp>
      <p:pic>
        <p:nvPicPr>
          <p:cNvPr id="29" name="Immagine 28">
            <a:extLst>
              <a:ext uri="{FF2B5EF4-FFF2-40B4-BE49-F238E27FC236}">
                <a16:creationId xmlns:a16="http://schemas.microsoft.com/office/drawing/2014/main" id="{C5E9D368-4597-BD46-8E02-7A6623DA647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891065" y="301881"/>
            <a:ext cx="838001" cy="622515"/>
          </a:xfrm>
          <a:prstGeom prst="rect">
            <a:avLst/>
          </a:prstGeom>
        </p:spPr>
      </p:pic>
    </p:spTree>
    <p:extLst>
      <p:ext uri="{BB962C8B-B14F-4D97-AF65-F5344CB8AC3E}">
        <p14:creationId xmlns:p14="http://schemas.microsoft.com/office/powerpoint/2010/main" val="21312156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800" b="1" i="0">
                <a:solidFill>
                  <a:schemeClr val="bg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4800" b="1" i="0">
                <a:solidFill>
                  <a:schemeClr val="bg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1/24</a:t>
            </a:fld>
            <a:endParaRPr lang="en-US"/>
          </a:p>
        </p:txBody>
      </p:sp>
      <p:sp>
        <p:nvSpPr>
          <p:cNvPr id="6" name="Holder 6"/>
          <p:cNvSpPr>
            <a:spLocks noGrp="1"/>
          </p:cNvSpPr>
          <p:nvPr>
            <p:ph type="sldNum" sz="quarter" idx="7"/>
          </p:nvPr>
        </p:nvSpPr>
        <p:spPr/>
        <p:txBody>
          <a:bodyPr lIns="0" tIns="0" rIns="0" bIns="0"/>
          <a:lstStyle>
            <a:lvl1pPr>
              <a:defRPr sz="1000" b="0" i="0">
                <a:solidFill>
                  <a:schemeClr val="tx1"/>
                </a:solidFill>
                <a:latin typeface="Arial MT"/>
                <a:cs typeface="Arial MT"/>
              </a:defRPr>
            </a:lvl1pPr>
          </a:lstStyle>
          <a:p>
            <a:pPr marL="38100">
              <a:lnSpc>
                <a:spcPct val="100000"/>
              </a:lnSpc>
              <a:spcBef>
                <a:spcPts val="5"/>
              </a:spcBef>
            </a:pPr>
            <a:fld id="{81D60167-4931-47E6-BA6A-407CBD079E47}" type="slidenum">
              <a:rPr dirty="0"/>
              <a:t>‹#›</a:t>
            </a:fld>
            <a:endParaRPr/>
          </a:p>
        </p:txBody>
      </p:sp>
    </p:spTree>
    <p:extLst>
      <p:ext uri="{BB962C8B-B14F-4D97-AF65-F5344CB8AC3E}">
        <p14:creationId xmlns:p14="http://schemas.microsoft.com/office/powerpoint/2010/main" val="2164319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7187" y="365126"/>
            <a:ext cx="8429131" cy="744887"/>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sz="half" idx="1"/>
          </p:nvPr>
        </p:nvSpPr>
        <p:spPr>
          <a:xfrm>
            <a:off x="357188" y="1415721"/>
            <a:ext cx="4157663" cy="4065424"/>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48" y="1415721"/>
            <a:ext cx="4157171" cy="4065424"/>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C9A680E-58DB-449A-8C5B-BA2A51ED3524}" type="datetime4">
              <a:rPr lang="en-US" smtClean="0"/>
              <a:t>November 21, 2024</a:t>
            </a:fld>
            <a:endParaRPr lang="en-US"/>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Footer</a:t>
            </a:r>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
        <p:nvSpPr>
          <p:cNvPr id="8" name="Text Placeholder 9">
            <a:extLst>
              <a:ext uri="{FF2B5EF4-FFF2-40B4-BE49-F238E27FC236}">
                <a16:creationId xmlns:a16="http://schemas.microsoft.com/office/drawing/2014/main" id="{ED1741FC-D5B1-404F-AA76-697A1D9D80B5}"/>
              </a:ext>
            </a:extLst>
          </p:cNvPr>
          <p:cNvSpPr>
            <a:spLocks noGrp="1"/>
          </p:cNvSpPr>
          <p:nvPr>
            <p:ph type="body" sz="quarter" idx="13"/>
          </p:nvPr>
        </p:nvSpPr>
        <p:spPr>
          <a:xfrm>
            <a:off x="357188" y="5843588"/>
            <a:ext cx="8429625" cy="425450"/>
          </a:xfrm>
          <a:prstGeom prst="rect">
            <a:avLst/>
          </a:prstGeom>
        </p:spPr>
        <p:txBody>
          <a:bodyPr>
            <a:normAutofit/>
          </a:bodyPr>
          <a:lstStyle>
            <a:lvl1pPr marL="0" indent="0">
              <a:buNone/>
              <a:defRPr sz="1000">
                <a:solidFill>
                  <a:schemeClr val="accent6"/>
                </a:solidFill>
              </a:defRPr>
            </a:lvl1pPr>
          </a:lstStyle>
          <a:p>
            <a:pPr lvl="0"/>
            <a:endParaRPr lang="en-US"/>
          </a:p>
        </p:txBody>
      </p:sp>
    </p:spTree>
    <p:extLst>
      <p:ext uri="{BB962C8B-B14F-4D97-AF65-F5344CB8AC3E}">
        <p14:creationId xmlns:p14="http://schemas.microsoft.com/office/powerpoint/2010/main" val="28911660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7188" y="365126"/>
            <a:ext cx="8429132" cy="744887"/>
          </a:xfrm>
        </p:spPr>
        <p:txBody>
          <a:bodyPr/>
          <a:lstStyle>
            <a:lvl1pPr>
              <a:defRPr>
                <a:solidFill>
                  <a:schemeClr val="accent6"/>
                </a:solidFill>
              </a:defRPr>
            </a:lvl1pPr>
          </a:lstStyle>
          <a:p>
            <a:r>
              <a:rPr lang="en-US"/>
              <a:t>Click to edit Master title style</a:t>
            </a:r>
          </a:p>
        </p:txBody>
      </p:sp>
      <p:sp>
        <p:nvSpPr>
          <p:cNvPr id="3" name="Date Placeholder 2"/>
          <p:cNvSpPr>
            <a:spLocks noGrp="1"/>
          </p:cNvSpPr>
          <p:nvPr>
            <p:ph type="dt" sz="half" idx="10"/>
          </p:nvPr>
        </p:nvSpPr>
        <p:spPr/>
        <p:txBody>
          <a:bodyPr/>
          <a:lstStyle/>
          <a:p>
            <a:fld id="{77263E1A-5064-4E30-9425-D2978E4FCE49}" type="datetime4">
              <a:rPr lang="en-US" smtClean="0"/>
              <a:t>November 21, 2024</a:t>
            </a:fld>
            <a:endParaRPr lang="en-US"/>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US"/>
              <a:t>Footer</a:t>
            </a:r>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
        <p:nvSpPr>
          <p:cNvPr id="6" name="Text Placeholder 9">
            <a:extLst>
              <a:ext uri="{FF2B5EF4-FFF2-40B4-BE49-F238E27FC236}">
                <a16:creationId xmlns:a16="http://schemas.microsoft.com/office/drawing/2014/main" id="{CBF97786-AF60-4C91-BB2D-01E9D18D90C6}"/>
              </a:ext>
            </a:extLst>
          </p:cNvPr>
          <p:cNvSpPr>
            <a:spLocks noGrp="1"/>
          </p:cNvSpPr>
          <p:nvPr>
            <p:ph type="body" sz="quarter" idx="13"/>
          </p:nvPr>
        </p:nvSpPr>
        <p:spPr>
          <a:xfrm>
            <a:off x="357188" y="5843588"/>
            <a:ext cx="8429625" cy="425450"/>
          </a:xfrm>
          <a:prstGeom prst="rect">
            <a:avLst/>
          </a:prstGeom>
        </p:spPr>
        <p:txBody>
          <a:bodyPr>
            <a:normAutofit/>
          </a:bodyPr>
          <a:lstStyle>
            <a:lvl1pPr marL="0" indent="0">
              <a:buNone/>
              <a:defRPr sz="1000">
                <a:solidFill>
                  <a:schemeClr val="accent6"/>
                </a:solidFill>
              </a:defRPr>
            </a:lvl1pPr>
          </a:lstStyle>
          <a:p>
            <a:pPr lvl="0"/>
            <a:endParaRPr lang="en-US"/>
          </a:p>
        </p:txBody>
      </p:sp>
    </p:spTree>
    <p:extLst>
      <p:ext uri="{BB962C8B-B14F-4D97-AF65-F5344CB8AC3E}">
        <p14:creationId xmlns:p14="http://schemas.microsoft.com/office/powerpoint/2010/main" val="39323808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7188" y="1387365"/>
            <a:ext cx="3221831" cy="914401"/>
          </a:xfrm>
        </p:spPr>
        <p:txBody>
          <a:bodyPr anchor="b">
            <a:normAutofit/>
          </a:bodyPr>
          <a:lstStyle>
            <a:lvl1pPr>
              <a:defRPr sz="2800">
                <a:solidFill>
                  <a:schemeClr val="accent6"/>
                </a:solidFill>
              </a:defRPr>
            </a:lvl1pPr>
          </a:lstStyle>
          <a:p>
            <a:r>
              <a:rPr lang="en-US"/>
              <a:t>Click to edit Master title style</a:t>
            </a:r>
          </a:p>
        </p:txBody>
      </p:sp>
      <p:sp>
        <p:nvSpPr>
          <p:cNvPr id="3" name="Content Placeholder 2"/>
          <p:cNvSpPr>
            <a:spLocks noGrp="1"/>
          </p:cNvSpPr>
          <p:nvPr>
            <p:ph idx="1"/>
          </p:nvPr>
        </p:nvSpPr>
        <p:spPr>
          <a:xfrm>
            <a:off x="3887390" y="1387365"/>
            <a:ext cx="4898929" cy="4130566"/>
          </a:xfrm>
          <a:prstGeom prst="rect">
            <a:avLst/>
          </a:prstGeom>
        </p:spPr>
        <p:txBody>
          <a:bodyPr/>
          <a:lstStyle>
            <a:lvl1pPr>
              <a:defRPr sz="3200">
                <a:solidFill>
                  <a:schemeClr val="tx2"/>
                </a:solidFill>
              </a:defRPr>
            </a:lvl1pPr>
            <a:lvl2pPr>
              <a:defRPr sz="2800">
                <a:solidFill>
                  <a:schemeClr val="tx2"/>
                </a:solidFill>
              </a:defRPr>
            </a:lvl2pPr>
            <a:lvl3pPr>
              <a:defRPr sz="2400">
                <a:solidFill>
                  <a:schemeClr val="tx2"/>
                </a:solidFill>
              </a:defRPr>
            </a:lvl3pPr>
            <a:lvl4pPr>
              <a:defRPr sz="2000">
                <a:solidFill>
                  <a:schemeClr val="tx2"/>
                </a:solidFill>
              </a:defRPr>
            </a:lvl4pPr>
            <a:lvl5pPr>
              <a:defRPr sz="20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57188" y="2498835"/>
            <a:ext cx="3221831" cy="2330669"/>
          </a:xfrm>
          <a:prstGeom prst="rect">
            <a:avLst/>
          </a:prstGeom>
        </p:spPr>
        <p:txBody>
          <a:bodyPr/>
          <a:lstStyle>
            <a:lvl1pPr marL="0" indent="0">
              <a:buNone/>
              <a:defRPr sz="1600">
                <a:solidFill>
                  <a:schemeClr val="accent6"/>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32606D7-A151-49A1-BADA-1C8FF3601743}" type="datetime4">
              <a:rPr lang="en-US" smtClean="0"/>
              <a:t>November 21, 2024</a:t>
            </a:fld>
            <a:endParaRPr lang="en-US"/>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Footer</a:t>
            </a:r>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
        <p:nvSpPr>
          <p:cNvPr id="8" name="Text Placeholder 9">
            <a:extLst>
              <a:ext uri="{FF2B5EF4-FFF2-40B4-BE49-F238E27FC236}">
                <a16:creationId xmlns:a16="http://schemas.microsoft.com/office/drawing/2014/main" id="{6CF5CA50-528A-4E35-9C79-67F02C879E6E}"/>
              </a:ext>
            </a:extLst>
          </p:cNvPr>
          <p:cNvSpPr>
            <a:spLocks noGrp="1"/>
          </p:cNvSpPr>
          <p:nvPr>
            <p:ph type="body" sz="quarter" idx="13"/>
          </p:nvPr>
        </p:nvSpPr>
        <p:spPr>
          <a:xfrm>
            <a:off x="357188" y="5843588"/>
            <a:ext cx="8429625" cy="425450"/>
          </a:xfrm>
          <a:prstGeom prst="rect">
            <a:avLst/>
          </a:prstGeom>
        </p:spPr>
        <p:txBody>
          <a:bodyPr>
            <a:normAutofit/>
          </a:bodyPr>
          <a:lstStyle>
            <a:lvl1pPr marL="0" indent="0">
              <a:buNone/>
              <a:defRPr sz="1000">
                <a:solidFill>
                  <a:schemeClr val="accent6"/>
                </a:solidFill>
              </a:defRPr>
            </a:lvl1pPr>
          </a:lstStyle>
          <a:p>
            <a:pPr lvl="0"/>
            <a:endParaRPr lang="en-US"/>
          </a:p>
        </p:txBody>
      </p:sp>
    </p:spTree>
    <p:extLst>
      <p:ext uri="{BB962C8B-B14F-4D97-AF65-F5344CB8AC3E}">
        <p14:creationId xmlns:p14="http://schemas.microsoft.com/office/powerpoint/2010/main" val="11816398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7188" y="442639"/>
            <a:ext cx="5737087" cy="546373"/>
          </a:xfrm>
        </p:spPr>
        <p:txBody>
          <a:bodyPr anchor="b"/>
          <a:lstStyle>
            <a:lvl1pPr>
              <a:defRPr sz="3200">
                <a:solidFill>
                  <a:schemeClr val="accent6"/>
                </a:solidFill>
              </a:defRPr>
            </a:lvl1pPr>
          </a:lstStyle>
          <a:p>
            <a:r>
              <a:rPr lang="en-US"/>
              <a:t>Click to edit Master title style</a:t>
            </a:r>
          </a:p>
        </p:txBody>
      </p:sp>
      <p:sp>
        <p:nvSpPr>
          <p:cNvPr id="3" name="Picture Placeholder 2"/>
          <p:cNvSpPr>
            <a:spLocks noGrp="1" noChangeAspect="1"/>
          </p:cNvSpPr>
          <p:nvPr>
            <p:ph type="pic" idx="1"/>
          </p:nvPr>
        </p:nvSpPr>
        <p:spPr>
          <a:xfrm>
            <a:off x="4428528" y="1384831"/>
            <a:ext cx="4357792" cy="4154121"/>
          </a:xfrm>
          <a:prstGeom prst="rect">
            <a:avLst/>
          </a:prstGeom>
        </p:spPr>
        <p:txBody>
          <a:bodyPr anchor="t">
            <a:normAutofit/>
          </a:bodyPr>
          <a:lstStyle>
            <a:lvl1pPr marL="0" indent="0">
              <a:buNone/>
              <a:defRPr sz="28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357188" y="1523206"/>
            <a:ext cx="3220640" cy="3811588"/>
          </a:xfrm>
          <a:prstGeom prst="rect">
            <a:avLst/>
          </a:prstGeom>
        </p:spPr>
        <p:txBody>
          <a:bodyPr/>
          <a:lstStyle>
            <a:lvl1pPr marL="0" indent="0">
              <a:buNone/>
              <a:defRPr sz="16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26B63B1-B60C-4A3E-9A7C-A1A1D6947E57}" type="datetime4">
              <a:rPr lang="en-US" smtClean="0"/>
              <a:t>November 21, 2024</a:t>
            </a:fld>
            <a:endParaRPr lang="en-US"/>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Footer</a:t>
            </a:r>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
        <p:nvSpPr>
          <p:cNvPr id="8" name="Text Placeholder 9">
            <a:extLst>
              <a:ext uri="{FF2B5EF4-FFF2-40B4-BE49-F238E27FC236}">
                <a16:creationId xmlns:a16="http://schemas.microsoft.com/office/drawing/2014/main" id="{EAB64243-3172-4596-8016-2E7B5DE3F9FD}"/>
              </a:ext>
            </a:extLst>
          </p:cNvPr>
          <p:cNvSpPr>
            <a:spLocks noGrp="1"/>
          </p:cNvSpPr>
          <p:nvPr>
            <p:ph type="body" sz="quarter" idx="13"/>
          </p:nvPr>
        </p:nvSpPr>
        <p:spPr>
          <a:xfrm>
            <a:off x="357188" y="5843588"/>
            <a:ext cx="8429625" cy="425450"/>
          </a:xfrm>
          <a:prstGeom prst="rect">
            <a:avLst/>
          </a:prstGeom>
        </p:spPr>
        <p:txBody>
          <a:bodyPr>
            <a:normAutofit/>
          </a:bodyPr>
          <a:lstStyle>
            <a:lvl1pPr marL="0" indent="0">
              <a:buNone/>
              <a:defRPr sz="1000">
                <a:solidFill>
                  <a:schemeClr val="accent6"/>
                </a:solidFill>
              </a:defRPr>
            </a:lvl1pPr>
          </a:lstStyle>
          <a:p>
            <a:pPr lvl="0"/>
            <a:endParaRPr lang="en-US"/>
          </a:p>
        </p:txBody>
      </p:sp>
    </p:spTree>
    <p:extLst>
      <p:ext uri="{BB962C8B-B14F-4D97-AF65-F5344CB8AC3E}">
        <p14:creationId xmlns:p14="http://schemas.microsoft.com/office/powerpoint/2010/main" val="21793313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357188" y="365126"/>
            <a:ext cx="8158162" cy="744887"/>
          </a:xfrm>
        </p:spPr>
        <p:txBody>
          <a:bodyPr/>
          <a:lstStyle>
            <a:lvl1pPr>
              <a:defRPr>
                <a:solidFill>
                  <a:schemeClr val="tx1"/>
                </a:solidFill>
              </a:defRPr>
            </a:lvl1pPr>
          </a:lstStyle>
          <a:p>
            <a:r>
              <a:rPr lang="en-US"/>
              <a:t>Click to edit Master title style</a:t>
            </a:r>
          </a:p>
        </p:txBody>
      </p:sp>
      <p:sp>
        <p:nvSpPr>
          <p:cNvPr id="3" name="Vertical Text Placeholder 2"/>
          <p:cNvSpPr>
            <a:spLocks noGrp="1"/>
          </p:cNvSpPr>
          <p:nvPr>
            <p:ph type="body" orient="vert" idx="1"/>
          </p:nvPr>
        </p:nvSpPr>
        <p:spPr>
          <a:xfrm>
            <a:off x="357188" y="1486573"/>
            <a:ext cx="8429132" cy="3948363"/>
          </a:xfrm>
          <a:prstGeom prst="rect">
            <a:avLst/>
          </a:prstGeom>
        </p:spPr>
        <p:txBody>
          <a:bodyPr vert="eaVert"/>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8063C24-1BD9-4358-81B2-566E7A518CAF}" type="datetime4">
              <a:rPr lang="en-US" smtClean="0"/>
              <a:t>November 21, 2024</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Footer</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
        <p:nvSpPr>
          <p:cNvPr id="7" name="Text Placeholder 9">
            <a:extLst>
              <a:ext uri="{FF2B5EF4-FFF2-40B4-BE49-F238E27FC236}">
                <a16:creationId xmlns:a16="http://schemas.microsoft.com/office/drawing/2014/main" id="{CC4FFF92-DC45-4459-AFF4-F3E798FCA62B}"/>
              </a:ext>
            </a:extLst>
          </p:cNvPr>
          <p:cNvSpPr>
            <a:spLocks noGrp="1"/>
          </p:cNvSpPr>
          <p:nvPr>
            <p:ph type="body" sz="quarter" idx="13"/>
          </p:nvPr>
        </p:nvSpPr>
        <p:spPr>
          <a:xfrm>
            <a:off x="357188" y="5843588"/>
            <a:ext cx="8429625" cy="425450"/>
          </a:xfrm>
          <a:prstGeom prst="rect">
            <a:avLst/>
          </a:prstGeom>
        </p:spPr>
        <p:txBody>
          <a:bodyPr>
            <a:normAutofit/>
          </a:bodyPr>
          <a:lstStyle>
            <a:lvl1pPr marL="0" indent="0">
              <a:buNone/>
              <a:defRPr sz="1000">
                <a:solidFill>
                  <a:schemeClr val="tx1"/>
                </a:solidFill>
              </a:defRPr>
            </a:lvl1pPr>
          </a:lstStyle>
          <a:p>
            <a:pPr lvl="0"/>
            <a:endParaRPr lang="en-US"/>
          </a:p>
        </p:txBody>
      </p:sp>
    </p:spTree>
    <p:extLst>
      <p:ext uri="{BB962C8B-B14F-4D97-AF65-F5344CB8AC3E}">
        <p14:creationId xmlns:p14="http://schemas.microsoft.com/office/powerpoint/2010/main" val="3455521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72D52-F248-4026-9AF1-92AE314DBD6B}"/>
              </a:ext>
            </a:extLst>
          </p:cNvPr>
          <p:cNvSpPr>
            <a:spLocks noGrp="1"/>
          </p:cNvSpPr>
          <p:nvPr>
            <p:ph type="title" hasCustomPrompt="1"/>
          </p:nvPr>
        </p:nvSpPr>
        <p:spPr/>
        <p:txBody>
          <a:bodyPr/>
          <a:lstStyle>
            <a:lvl1pPr>
              <a:defRPr>
                <a:solidFill>
                  <a:schemeClr val="tx1"/>
                </a:solidFill>
              </a:defRPr>
            </a:lvl1pPr>
          </a:lstStyle>
          <a:p>
            <a:r>
              <a:rPr lang="en-US"/>
              <a:t>Team</a:t>
            </a:r>
          </a:p>
        </p:txBody>
      </p:sp>
      <p:sp>
        <p:nvSpPr>
          <p:cNvPr id="3" name="Date Placeholder 2">
            <a:extLst>
              <a:ext uri="{FF2B5EF4-FFF2-40B4-BE49-F238E27FC236}">
                <a16:creationId xmlns:a16="http://schemas.microsoft.com/office/drawing/2014/main" id="{BA0CE136-AF5F-410D-B15F-A5EECE695A27}"/>
              </a:ext>
            </a:extLst>
          </p:cNvPr>
          <p:cNvSpPr>
            <a:spLocks noGrp="1"/>
          </p:cNvSpPr>
          <p:nvPr>
            <p:ph type="dt" sz="half" idx="10"/>
          </p:nvPr>
        </p:nvSpPr>
        <p:spPr/>
        <p:txBody>
          <a:bodyPr/>
          <a:lstStyle/>
          <a:p>
            <a:fld id="{C17419A9-4912-4D42-8F3D-1BD3BA7DCDCB}" type="datetime4">
              <a:rPr lang="en-US" smtClean="0"/>
              <a:pPr/>
              <a:t>November 21, 2024</a:t>
            </a:fld>
            <a:endParaRPr lang="en-US"/>
          </a:p>
        </p:txBody>
      </p:sp>
      <p:sp>
        <p:nvSpPr>
          <p:cNvPr id="4" name="Slide Number Placeholder 3">
            <a:extLst>
              <a:ext uri="{FF2B5EF4-FFF2-40B4-BE49-F238E27FC236}">
                <a16:creationId xmlns:a16="http://schemas.microsoft.com/office/drawing/2014/main" id="{3BA7994A-1DBC-42DA-9996-3930D791C098}"/>
              </a:ext>
            </a:extLst>
          </p:cNvPr>
          <p:cNvSpPr>
            <a:spLocks noGrp="1"/>
          </p:cNvSpPr>
          <p:nvPr>
            <p:ph type="sldNum" sz="quarter" idx="11"/>
          </p:nvPr>
        </p:nvSpPr>
        <p:spPr/>
        <p:txBody>
          <a:bodyPr/>
          <a:lstStyle/>
          <a:p>
            <a:fld id="{89BE3C81-78D6-4C4B-AF0E-1C8704E0A56F}" type="slidenum">
              <a:rPr lang="en-US" smtClean="0"/>
              <a:pPr/>
              <a:t>‹#›</a:t>
            </a:fld>
            <a:endParaRPr lang="en-US"/>
          </a:p>
        </p:txBody>
      </p:sp>
      <p:sp>
        <p:nvSpPr>
          <p:cNvPr id="5" name="Footer Placeholder 4">
            <a:extLst>
              <a:ext uri="{FF2B5EF4-FFF2-40B4-BE49-F238E27FC236}">
                <a16:creationId xmlns:a16="http://schemas.microsoft.com/office/drawing/2014/main" id="{B5CA5834-21E9-473F-A43D-50A57EAC1403}"/>
              </a:ext>
            </a:extLst>
          </p:cNvPr>
          <p:cNvSpPr>
            <a:spLocks noGrp="1"/>
          </p:cNvSpPr>
          <p:nvPr>
            <p:ph type="ftr" sz="quarter" idx="12"/>
          </p:nvPr>
        </p:nvSpPr>
        <p:spPr/>
        <p:txBody>
          <a:bodyPr/>
          <a:lstStyle/>
          <a:p>
            <a:r>
              <a:rPr lang="en-US"/>
              <a:t>Footer</a:t>
            </a:r>
          </a:p>
        </p:txBody>
      </p:sp>
      <p:sp>
        <p:nvSpPr>
          <p:cNvPr id="7" name="Picture Placeholder 6">
            <a:extLst>
              <a:ext uri="{FF2B5EF4-FFF2-40B4-BE49-F238E27FC236}">
                <a16:creationId xmlns:a16="http://schemas.microsoft.com/office/drawing/2014/main" id="{56EDB6D1-AD9D-4040-9727-40D1F4002A87}"/>
              </a:ext>
            </a:extLst>
          </p:cNvPr>
          <p:cNvSpPr>
            <a:spLocks noGrp="1" noChangeAspect="1"/>
          </p:cNvSpPr>
          <p:nvPr>
            <p:ph type="pic" sz="quarter" idx="13"/>
          </p:nvPr>
        </p:nvSpPr>
        <p:spPr>
          <a:xfrm>
            <a:off x="689020" y="1671479"/>
            <a:ext cx="1394720" cy="1302518"/>
          </a:xfrm>
          <a:prstGeom prst="flowChartConnector">
            <a:avLst/>
          </a:prstGeom>
        </p:spPr>
        <p:txBody>
          <a:bodyPr>
            <a:normAutofit/>
          </a:bodyPr>
          <a:lstStyle>
            <a:lvl1pPr>
              <a:defRPr sz="1400"/>
            </a:lvl1pPr>
          </a:lstStyle>
          <a:p>
            <a:endParaRPr lang="en-US"/>
          </a:p>
        </p:txBody>
      </p:sp>
      <p:sp>
        <p:nvSpPr>
          <p:cNvPr id="10" name="Picture Placeholder 6">
            <a:extLst>
              <a:ext uri="{FF2B5EF4-FFF2-40B4-BE49-F238E27FC236}">
                <a16:creationId xmlns:a16="http://schemas.microsoft.com/office/drawing/2014/main" id="{52EB7E63-0B65-4FAE-9101-C5B84225280D}"/>
              </a:ext>
            </a:extLst>
          </p:cNvPr>
          <p:cNvSpPr>
            <a:spLocks noGrp="1" noChangeAspect="1"/>
          </p:cNvSpPr>
          <p:nvPr>
            <p:ph type="pic" sz="quarter" idx="14"/>
          </p:nvPr>
        </p:nvSpPr>
        <p:spPr>
          <a:xfrm>
            <a:off x="3874640" y="3332084"/>
            <a:ext cx="1394720" cy="1302518"/>
          </a:xfrm>
          <a:prstGeom prst="flowChartConnector">
            <a:avLst/>
          </a:prstGeom>
        </p:spPr>
        <p:txBody>
          <a:bodyPr>
            <a:normAutofit/>
          </a:bodyPr>
          <a:lstStyle>
            <a:lvl1pPr algn="l">
              <a:defRPr sz="1600"/>
            </a:lvl1pPr>
          </a:lstStyle>
          <a:p>
            <a:endParaRPr lang="en-US"/>
          </a:p>
        </p:txBody>
      </p:sp>
      <p:sp>
        <p:nvSpPr>
          <p:cNvPr id="11" name="Picture Placeholder 6">
            <a:extLst>
              <a:ext uri="{FF2B5EF4-FFF2-40B4-BE49-F238E27FC236}">
                <a16:creationId xmlns:a16="http://schemas.microsoft.com/office/drawing/2014/main" id="{A5B8D000-8CE8-4EF5-A7C1-11842EA7D84B}"/>
              </a:ext>
            </a:extLst>
          </p:cNvPr>
          <p:cNvSpPr>
            <a:spLocks noGrp="1" noChangeAspect="1"/>
          </p:cNvSpPr>
          <p:nvPr>
            <p:ph type="pic" sz="quarter" idx="15"/>
          </p:nvPr>
        </p:nvSpPr>
        <p:spPr>
          <a:xfrm>
            <a:off x="689020" y="3332084"/>
            <a:ext cx="1394720" cy="1302518"/>
          </a:xfrm>
          <a:prstGeom prst="flowChartConnector">
            <a:avLst/>
          </a:prstGeom>
        </p:spPr>
        <p:txBody>
          <a:bodyPr>
            <a:normAutofit/>
          </a:bodyPr>
          <a:lstStyle>
            <a:lvl1pPr>
              <a:defRPr sz="1400"/>
            </a:lvl1pPr>
          </a:lstStyle>
          <a:p>
            <a:endParaRPr lang="en-US"/>
          </a:p>
        </p:txBody>
      </p:sp>
      <p:sp>
        <p:nvSpPr>
          <p:cNvPr id="12" name="Picture Placeholder 6">
            <a:extLst>
              <a:ext uri="{FF2B5EF4-FFF2-40B4-BE49-F238E27FC236}">
                <a16:creationId xmlns:a16="http://schemas.microsoft.com/office/drawing/2014/main" id="{91C43061-A00A-423D-A774-7328F328D49E}"/>
              </a:ext>
            </a:extLst>
          </p:cNvPr>
          <p:cNvSpPr>
            <a:spLocks noGrp="1" noChangeAspect="1"/>
          </p:cNvSpPr>
          <p:nvPr>
            <p:ph type="pic" sz="quarter" idx="16"/>
          </p:nvPr>
        </p:nvSpPr>
        <p:spPr>
          <a:xfrm>
            <a:off x="7060260" y="3332389"/>
            <a:ext cx="1394720" cy="1302518"/>
          </a:xfrm>
          <a:prstGeom prst="flowChartConnector">
            <a:avLst/>
          </a:prstGeom>
        </p:spPr>
        <p:txBody>
          <a:bodyPr>
            <a:normAutofit/>
          </a:bodyPr>
          <a:lstStyle>
            <a:lvl1pPr>
              <a:defRPr sz="1600"/>
            </a:lvl1pPr>
          </a:lstStyle>
          <a:p>
            <a:endParaRPr lang="en-US"/>
          </a:p>
        </p:txBody>
      </p:sp>
      <p:sp>
        <p:nvSpPr>
          <p:cNvPr id="16" name="Text Placeholder 15">
            <a:extLst>
              <a:ext uri="{FF2B5EF4-FFF2-40B4-BE49-F238E27FC236}">
                <a16:creationId xmlns:a16="http://schemas.microsoft.com/office/drawing/2014/main" id="{8FEDEA6F-A98B-4E33-A146-4DD132DAF8C6}"/>
              </a:ext>
            </a:extLst>
          </p:cNvPr>
          <p:cNvSpPr>
            <a:spLocks noGrp="1"/>
          </p:cNvSpPr>
          <p:nvPr>
            <p:ph type="body" sz="quarter" idx="18" hasCustomPrompt="1"/>
          </p:nvPr>
        </p:nvSpPr>
        <p:spPr>
          <a:xfrm>
            <a:off x="357680" y="4693368"/>
            <a:ext cx="2057400" cy="900303"/>
          </a:xfrm>
        </p:spPr>
        <p:txBody>
          <a:bodyPr>
            <a:normAutofit/>
          </a:bodyPr>
          <a:lstStyle>
            <a:lvl1pPr marL="0" indent="0">
              <a:lnSpc>
                <a:spcPct val="100000"/>
              </a:lnSpc>
              <a:spcBef>
                <a:spcPts val="0"/>
              </a:spcBef>
              <a:buNone/>
              <a:defRPr sz="1400"/>
            </a:lvl1pPr>
          </a:lstStyle>
          <a:p>
            <a:pPr lvl="0"/>
            <a:r>
              <a:rPr lang="en-US"/>
              <a:t>Name Surname </a:t>
            </a:r>
          </a:p>
          <a:p>
            <a:pPr lvl="0"/>
            <a:r>
              <a:rPr lang="en-US"/>
              <a:t>Ro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LinkedIn logo (with hyperlink)</a:t>
            </a:r>
          </a:p>
          <a:p>
            <a:pPr lvl="0"/>
            <a:endParaRPr lang="en-US"/>
          </a:p>
          <a:p>
            <a:pPr lvl="0"/>
            <a:endParaRPr lang="en-US"/>
          </a:p>
        </p:txBody>
      </p:sp>
      <p:sp>
        <p:nvSpPr>
          <p:cNvPr id="21" name="Text Placeholder 15">
            <a:extLst>
              <a:ext uri="{FF2B5EF4-FFF2-40B4-BE49-F238E27FC236}">
                <a16:creationId xmlns:a16="http://schemas.microsoft.com/office/drawing/2014/main" id="{1B2328BC-D54E-4588-936F-728640414674}"/>
              </a:ext>
            </a:extLst>
          </p:cNvPr>
          <p:cNvSpPr>
            <a:spLocks noGrp="1"/>
          </p:cNvSpPr>
          <p:nvPr>
            <p:ph type="body" sz="quarter" idx="21" hasCustomPrompt="1"/>
          </p:nvPr>
        </p:nvSpPr>
        <p:spPr>
          <a:xfrm>
            <a:off x="3768519" y="4693368"/>
            <a:ext cx="1606962" cy="900303"/>
          </a:xfrm>
        </p:spPr>
        <p:txBody>
          <a:bodyPr>
            <a:normAutofit/>
          </a:bodyPr>
          <a:lstStyle>
            <a:lvl1pPr marL="0" indent="0">
              <a:lnSpc>
                <a:spcPct val="100000"/>
              </a:lnSpc>
              <a:spcBef>
                <a:spcPts val="0"/>
              </a:spcBef>
              <a:buNone/>
              <a:defRPr sz="1400"/>
            </a:lvl1pPr>
          </a:lstStyle>
          <a:p>
            <a:pPr lvl="0"/>
            <a:r>
              <a:rPr lang="en-US"/>
              <a:t>Name Surname </a:t>
            </a:r>
          </a:p>
          <a:p>
            <a:pPr lvl="0"/>
            <a:r>
              <a:rPr lang="en-US"/>
              <a:t>Ro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LinkedIn logo (with hyperlink)</a:t>
            </a:r>
          </a:p>
          <a:p>
            <a:pPr lvl="0"/>
            <a:endParaRPr lang="en-US"/>
          </a:p>
          <a:p>
            <a:pPr lvl="0"/>
            <a:endParaRPr lang="en-US"/>
          </a:p>
        </p:txBody>
      </p:sp>
      <p:sp>
        <p:nvSpPr>
          <p:cNvPr id="22" name="Text Placeholder 15">
            <a:extLst>
              <a:ext uri="{FF2B5EF4-FFF2-40B4-BE49-F238E27FC236}">
                <a16:creationId xmlns:a16="http://schemas.microsoft.com/office/drawing/2014/main" id="{82EDA4E5-1442-412C-9D4C-BC03BC44DB6E}"/>
              </a:ext>
            </a:extLst>
          </p:cNvPr>
          <p:cNvSpPr>
            <a:spLocks noGrp="1"/>
          </p:cNvSpPr>
          <p:nvPr>
            <p:ph type="body" sz="quarter" idx="22" hasCustomPrompt="1"/>
          </p:nvPr>
        </p:nvSpPr>
        <p:spPr>
          <a:xfrm>
            <a:off x="6954139" y="4693368"/>
            <a:ext cx="1606962" cy="900303"/>
          </a:xfrm>
        </p:spPr>
        <p:txBody>
          <a:bodyPr>
            <a:normAutofit/>
          </a:bodyPr>
          <a:lstStyle>
            <a:lvl1pPr marL="0" indent="0">
              <a:lnSpc>
                <a:spcPct val="100000"/>
              </a:lnSpc>
              <a:spcBef>
                <a:spcPts val="0"/>
              </a:spcBef>
              <a:buNone/>
              <a:defRPr sz="1400"/>
            </a:lvl1pPr>
          </a:lstStyle>
          <a:p>
            <a:pPr lvl="0"/>
            <a:r>
              <a:rPr lang="en-US"/>
              <a:t>Name Surname </a:t>
            </a:r>
          </a:p>
          <a:p>
            <a:pPr lvl="0"/>
            <a:r>
              <a:rPr lang="en-US"/>
              <a:t>Rol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LinkedIn logo (with hyperlink)</a:t>
            </a:r>
          </a:p>
          <a:p>
            <a:pPr lvl="0"/>
            <a:endParaRPr lang="en-US"/>
          </a:p>
          <a:p>
            <a:pPr lvl="0"/>
            <a:endParaRPr lang="en-US"/>
          </a:p>
        </p:txBody>
      </p:sp>
      <p:sp>
        <p:nvSpPr>
          <p:cNvPr id="27" name="Text Placeholder 15">
            <a:extLst>
              <a:ext uri="{FF2B5EF4-FFF2-40B4-BE49-F238E27FC236}">
                <a16:creationId xmlns:a16="http://schemas.microsoft.com/office/drawing/2014/main" id="{0374B2A4-BC25-43A6-9291-A52B1247BFE1}"/>
              </a:ext>
            </a:extLst>
          </p:cNvPr>
          <p:cNvSpPr>
            <a:spLocks noGrp="1"/>
          </p:cNvSpPr>
          <p:nvPr>
            <p:ph type="body" sz="quarter" idx="23" hasCustomPrompt="1"/>
          </p:nvPr>
        </p:nvSpPr>
        <p:spPr>
          <a:xfrm>
            <a:off x="2225469" y="1778667"/>
            <a:ext cx="1606962" cy="1088141"/>
          </a:xfrm>
        </p:spPr>
        <p:txBody>
          <a:bodyPr>
            <a:normAutofit/>
          </a:bodyPr>
          <a:lstStyle>
            <a:lvl1pPr marL="0" indent="0">
              <a:lnSpc>
                <a:spcPct val="100000"/>
              </a:lnSpc>
              <a:spcBef>
                <a:spcPts val="0"/>
              </a:spcBef>
              <a:buNone/>
              <a:defRPr sz="1400"/>
            </a:lvl1pPr>
          </a:lstStyle>
          <a:p>
            <a:pPr lvl="0"/>
            <a:r>
              <a:rPr lang="en-US"/>
              <a:t>Name Surname </a:t>
            </a:r>
          </a:p>
          <a:p>
            <a:pPr lvl="0"/>
            <a:r>
              <a:rPr lang="en-US"/>
              <a:t>Role</a:t>
            </a:r>
          </a:p>
          <a:p>
            <a:pPr lvl="0"/>
            <a:r>
              <a:rPr lang="en-US"/>
              <a:t>LinkedIn logo (with hyperlink)</a:t>
            </a:r>
          </a:p>
          <a:p>
            <a:pPr lvl="0"/>
            <a:endParaRPr lang="en-US"/>
          </a:p>
        </p:txBody>
      </p:sp>
    </p:spTree>
    <p:extLst>
      <p:ext uri="{BB962C8B-B14F-4D97-AF65-F5344CB8AC3E}">
        <p14:creationId xmlns:p14="http://schemas.microsoft.com/office/powerpoint/2010/main" val="9226940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ing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E7DF8-59E0-41D4-AB81-6FD894F5680B}"/>
              </a:ext>
            </a:extLst>
          </p:cNvPr>
          <p:cNvSpPr>
            <a:spLocks noGrp="1"/>
          </p:cNvSpPr>
          <p:nvPr>
            <p:ph type="title"/>
          </p:nvPr>
        </p:nvSpPr>
        <p:spPr/>
        <p:txBody>
          <a:bodyPr/>
          <a:lstStyle/>
          <a:p>
            <a:r>
              <a:rPr lang="en-US"/>
              <a:t>Click to edit Master title style</a:t>
            </a:r>
            <a:endParaRPr lang="en-CH"/>
          </a:p>
        </p:txBody>
      </p:sp>
      <p:sp>
        <p:nvSpPr>
          <p:cNvPr id="3" name="Date Placeholder 2">
            <a:extLst>
              <a:ext uri="{FF2B5EF4-FFF2-40B4-BE49-F238E27FC236}">
                <a16:creationId xmlns:a16="http://schemas.microsoft.com/office/drawing/2014/main" id="{DF9C4A60-D8F6-46DA-B5AB-0E4CAE5BC63A}"/>
              </a:ext>
            </a:extLst>
          </p:cNvPr>
          <p:cNvSpPr>
            <a:spLocks noGrp="1"/>
          </p:cNvSpPr>
          <p:nvPr>
            <p:ph type="dt" sz="half" idx="10"/>
          </p:nvPr>
        </p:nvSpPr>
        <p:spPr/>
        <p:txBody>
          <a:bodyPr/>
          <a:lstStyle/>
          <a:p>
            <a:fld id="{C17419A9-4912-4D42-8F3D-1BD3BA7DCDCB}" type="datetime4">
              <a:rPr lang="en-US" smtClean="0"/>
              <a:pPr/>
              <a:t>November 21, 2024</a:t>
            </a:fld>
            <a:endParaRPr lang="en-US"/>
          </a:p>
        </p:txBody>
      </p:sp>
      <p:sp>
        <p:nvSpPr>
          <p:cNvPr id="4" name="Slide Number Placeholder 3">
            <a:extLst>
              <a:ext uri="{FF2B5EF4-FFF2-40B4-BE49-F238E27FC236}">
                <a16:creationId xmlns:a16="http://schemas.microsoft.com/office/drawing/2014/main" id="{CF5C09D4-9D56-43CC-8467-9570FFD12D6A}"/>
              </a:ext>
            </a:extLst>
          </p:cNvPr>
          <p:cNvSpPr>
            <a:spLocks noGrp="1"/>
          </p:cNvSpPr>
          <p:nvPr>
            <p:ph type="sldNum" sz="quarter" idx="11"/>
          </p:nvPr>
        </p:nvSpPr>
        <p:spPr/>
        <p:txBody>
          <a:bodyPr/>
          <a:lstStyle/>
          <a:p>
            <a:fld id="{89BE3C81-78D6-4C4B-AF0E-1C8704E0A56F}" type="slidenum">
              <a:rPr lang="en-US" smtClean="0"/>
              <a:pPr/>
              <a:t>‹#›</a:t>
            </a:fld>
            <a:endParaRPr lang="en-US"/>
          </a:p>
        </p:txBody>
      </p:sp>
      <p:sp>
        <p:nvSpPr>
          <p:cNvPr id="5" name="Footer Placeholder 4">
            <a:extLst>
              <a:ext uri="{FF2B5EF4-FFF2-40B4-BE49-F238E27FC236}">
                <a16:creationId xmlns:a16="http://schemas.microsoft.com/office/drawing/2014/main" id="{50CCC677-FC1B-444F-9C81-2F6CE62A279F}"/>
              </a:ext>
            </a:extLst>
          </p:cNvPr>
          <p:cNvSpPr>
            <a:spLocks noGrp="1"/>
          </p:cNvSpPr>
          <p:nvPr>
            <p:ph type="ftr" sz="quarter" idx="12"/>
          </p:nvPr>
        </p:nvSpPr>
        <p:spPr/>
        <p:txBody>
          <a:bodyPr/>
          <a:lstStyle/>
          <a:p>
            <a:r>
              <a:rPr lang="en-US"/>
              <a:t>Footer</a:t>
            </a:r>
          </a:p>
        </p:txBody>
      </p:sp>
      <p:pic>
        <p:nvPicPr>
          <p:cNvPr id="1030" name="Picture 6">
            <a:extLst>
              <a:ext uri="{FF2B5EF4-FFF2-40B4-BE49-F238E27FC236}">
                <a16:creationId xmlns:a16="http://schemas.microsoft.com/office/drawing/2014/main" id="{D21A080C-51FA-4DC2-B311-B0C8A1DEBD6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EF9C597F-5807-4C79-A97D-BDA19E4EBA6C}"/>
              </a:ext>
            </a:extLst>
          </p:cNvPr>
          <p:cNvSpPr/>
          <p:nvPr userDrawn="1"/>
        </p:nvSpPr>
        <p:spPr>
          <a:xfrm>
            <a:off x="2" y="1"/>
            <a:ext cx="9143998" cy="6857999"/>
          </a:xfrm>
          <a:prstGeom prst="rect">
            <a:avLst/>
          </a:prstGeom>
          <a:solidFill>
            <a:srgbClr val="000000">
              <a:alpha val="69804"/>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None/>
            </a:pPr>
            <a:endParaRPr lang="en-GB" sz="3600">
              <a:solidFill>
                <a:schemeClr val="bg1"/>
              </a:solidFill>
              <a:ea typeface="Roboto"/>
              <a:cs typeface="Roboto"/>
              <a:sym typeface="Roboto"/>
            </a:endParaRPr>
          </a:p>
        </p:txBody>
      </p:sp>
      <p:sp>
        <p:nvSpPr>
          <p:cNvPr id="13" name="TextBox 12">
            <a:extLst>
              <a:ext uri="{FF2B5EF4-FFF2-40B4-BE49-F238E27FC236}">
                <a16:creationId xmlns:a16="http://schemas.microsoft.com/office/drawing/2014/main" id="{92FC2C2C-C338-4065-AC74-E8C3A4857A25}"/>
              </a:ext>
            </a:extLst>
          </p:cNvPr>
          <p:cNvSpPr txBox="1"/>
          <p:nvPr userDrawn="1"/>
        </p:nvSpPr>
        <p:spPr>
          <a:xfrm>
            <a:off x="5870296" y="5565272"/>
            <a:ext cx="3121304" cy="369332"/>
          </a:xfrm>
          <a:prstGeom prst="rect">
            <a:avLst/>
          </a:prstGeom>
          <a:noFill/>
        </p:spPr>
        <p:txBody>
          <a:bodyPr wrap="none" rtlCol="0">
            <a:spAutoFit/>
          </a:bodyPr>
          <a:lstStyle/>
          <a:p>
            <a:r>
              <a:rPr lang="en-US" b="1">
                <a:solidFill>
                  <a:schemeClr val="accent1"/>
                </a:solidFill>
                <a:latin typeface="Arial" panose="020B0604020202020204" pitchFamily="34" charset="0"/>
                <a:cs typeface="Arial" panose="020B0604020202020204" pitchFamily="34" charset="0"/>
              </a:rPr>
              <a:t>www.bsfintechsociety.com</a:t>
            </a:r>
            <a:endParaRPr lang="en-CH" b="1">
              <a:solidFill>
                <a:schemeClr val="accent1"/>
              </a:solidFill>
              <a:latin typeface="Arial" panose="020B0604020202020204" pitchFamily="34" charset="0"/>
              <a:cs typeface="Arial" panose="020B0604020202020204" pitchFamily="34" charset="0"/>
            </a:endParaRPr>
          </a:p>
        </p:txBody>
      </p:sp>
      <p:sp>
        <p:nvSpPr>
          <p:cNvPr id="17" name="Google Shape;25;p9">
            <a:extLst>
              <a:ext uri="{FF2B5EF4-FFF2-40B4-BE49-F238E27FC236}">
                <a16:creationId xmlns:a16="http://schemas.microsoft.com/office/drawing/2014/main" id="{8AEF8136-3031-44FB-91D9-BC21959EEB44}"/>
              </a:ext>
            </a:extLst>
          </p:cNvPr>
          <p:cNvSpPr txBox="1"/>
          <p:nvPr userDrawn="1"/>
        </p:nvSpPr>
        <p:spPr>
          <a:xfrm>
            <a:off x="155448" y="6075186"/>
            <a:ext cx="8836152" cy="64629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600" b="0" i="0" u="none" strike="noStrike" cap="none">
                <a:solidFill>
                  <a:schemeClr val="accent1"/>
                </a:solidFill>
                <a:latin typeface="Arial"/>
                <a:ea typeface="Arial"/>
                <a:cs typeface="Arial"/>
                <a:sym typeface="Arial"/>
              </a:rPr>
              <a:t>Following presentation may have included forward-looking statements. These statements are not historical facts, but instead represent only our belief regarding future events, many of which, by their nature, are inherently uncertain and outside of our control. It is possible that the Firm’s actual results and financial condition may differ, possibly materially, from the anticipated results and financial condition indicated in these forward-looking statements. These materials are based on information provided by the internet or otherwise reviewed by us. We have assumed that such estimates and forecasts have been reasonably prepared on bases reflecting the best currently available estimates and judgments. These materials are not intended to provide the sole basis for evaluating and should not be considered a recommendation with respect to any transaction or other matter. Prior to entering any transaction you should determine, without reliance on us, the economic risks and merits as well as the legal, tax and accounting characterizations and consequences of any such transaction. These materials do not constitute an offer or solicitation to sell or purchase any securities and are not a commitment by us to provide or arrange any financing for any transaction or to purchase any security in connection therewith. We assume no obligation to update or otherwise revise these materials. </a:t>
            </a:r>
            <a:endParaRPr sz="1100">
              <a:solidFill>
                <a:schemeClr val="accent1"/>
              </a:solidFill>
            </a:endParaRPr>
          </a:p>
        </p:txBody>
      </p:sp>
      <p:pic>
        <p:nvPicPr>
          <p:cNvPr id="14" name="Picture 13" descr="Transparent Background Social Media Icons Vector , Transparent Cartoon -  Jing.fm">
            <a:hlinkClick r:id="rId3"/>
            <a:extLst>
              <a:ext uri="{FF2B5EF4-FFF2-40B4-BE49-F238E27FC236}">
                <a16:creationId xmlns:a16="http://schemas.microsoft.com/office/drawing/2014/main" id="{DEB5736D-AC8C-452D-91F3-FA4C3376CEFB}"/>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1024648" y="1110013"/>
            <a:ext cx="550545" cy="5571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Transparent Background Social Media Icons Vector , Transparent Cartoon -  Jing.fm">
            <a:hlinkClick r:id="rId5"/>
            <a:extLst>
              <a:ext uri="{FF2B5EF4-FFF2-40B4-BE49-F238E27FC236}">
                <a16:creationId xmlns:a16="http://schemas.microsoft.com/office/drawing/2014/main" id="{754D06E1-3F0F-47FC-9064-4B9F6FC488A9}"/>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20374" y="1742473"/>
            <a:ext cx="554819" cy="55718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Transparent Background Social Media Icons Vector , Transparent Cartoon -  Jing.fm">
            <a:hlinkClick r:id="rId7"/>
            <a:extLst>
              <a:ext uri="{FF2B5EF4-FFF2-40B4-BE49-F238E27FC236}">
                <a16:creationId xmlns:a16="http://schemas.microsoft.com/office/drawing/2014/main" id="{31550D9E-16A1-40E1-B303-96D707EAA39E}"/>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20374" y="2381632"/>
            <a:ext cx="554819" cy="55718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A56D9985-0664-4E03-A190-27D01361C07D}"/>
              </a:ext>
            </a:extLst>
          </p:cNvPr>
          <p:cNvSpPr/>
          <p:nvPr userDrawn="1"/>
        </p:nvSpPr>
        <p:spPr>
          <a:xfrm>
            <a:off x="1153003" y="2523992"/>
            <a:ext cx="289560" cy="28956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a:p>
        </p:txBody>
      </p:sp>
      <p:pic>
        <p:nvPicPr>
          <p:cNvPr id="19" name="Picture 18" descr="Website Logo PNG, Web Site Logos Free Download - Free Transparent PNG Logos">
            <a:hlinkClick r:id="rId8"/>
            <a:extLst>
              <a:ext uri="{FF2B5EF4-FFF2-40B4-BE49-F238E27FC236}">
                <a16:creationId xmlns:a16="http://schemas.microsoft.com/office/drawing/2014/main" id="{C2F5B890-B370-4FA5-8933-0CD1EC031E26}"/>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1153003" y="2515442"/>
            <a:ext cx="289560" cy="28956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Transparent Background Social Media Icons Vector , Transparent Cartoon -  Jing.fm">
            <a:hlinkClick r:id="rId10"/>
            <a:extLst>
              <a:ext uri="{FF2B5EF4-FFF2-40B4-BE49-F238E27FC236}">
                <a16:creationId xmlns:a16="http://schemas.microsoft.com/office/drawing/2014/main" id="{9A48C3F2-8C8D-4048-81C2-82C977E780E9}"/>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020374" y="3012134"/>
            <a:ext cx="554819" cy="55718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CA03CCF5-A3AA-4CEF-9144-4D9CAF03D220}"/>
              </a:ext>
            </a:extLst>
          </p:cNvPr>
          <p:cNvSpPr/>
          <p:nvPr userDrawn="1"/>
        </p:nvSpPr>
        <p:spPr>
          <a:xfrm>
            <a:off x="1153003" y="3144082"/>
            <a:ext cx="268092" cy="268092"/>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a:p>
        </p:txBody>
      </p:sp>
      <p:pic>
        <p:nvPicPr>
          <p:cNvPr id="22" name="Picture 21" descr="Download Mail Icon Vector Png - Email Png PNG Image with No Background -  PNGkey.com">
            <a:hlinkClick r:id="rId10"/>
            <a:extLst>
              <a:ext uri="{FF2B5EF4-FFF2-40B4-BE49-F238E27FC236}">
                <a16:creationId xmlns:a16="http://schemas.microsoft.com/office/drawing/2014/main" id="{BAAA7C6E-5319-4F24-9C85-5B8F902DFFE9}"/>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auto">
          <a:xfrm>
            <a:off x="1153734" y="3156678"/>
            <a:ext cx="288829" cy="268092"/>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2D6BF818-1D85-4FBA-9AA2-F626DAA80DF6}"/>
              </a:ext>
            </a:extLst>
          </p:cNvPr>
          <p:cNvSpPr/>
          <p:nvPr userDrawn="1"/>
        </p:nvSpPr>
        <p:spPr>
          <a:xfrm>
            <a:off x="1645753" y="1218232"/>
            <a:ext cx="4839101" cy="340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GB" sz="1200" b="1">
                <a:solidFill>
                  <a:schemeClr val="bg2"/>
                </a:solidFill>
                <a:latin typeface="Arial" panose="020B0604020202020204" pitchFamily="34" charset="0"/>
                <a:cs typeface="Arial" panose="020B0604020202020204" pitchFamily="34" charset="0"/>
              </a:rPr>
              <a:t>Instagram.com/bocconistudentsfintechsociety</a:t>
            </a:r>
          </a:p>
        </p:txBody>
      </p:sp>
      <p:sp>
        <p:nvSpPr>
          <p:cNvPr id="24" name="Rectangle 23">
            <a:extLst>
              <a:ext uri="{FF2B5EF4-FFF2-40B4-BE49-F238E27FC236}">
                <a16:creationId xmlns:a16="http://schemas.microsoft.com/office/drawing/2014/main" id="{2ABDC6B6-2430-44CA-825E-8B74A2C8AA3C}"/>
              </a:ext>
            </a:extLst>
          </p:cNvPr>
          <p:cNvSpPr/>
          <p:nvPr userDrawn="1"/>
        </p:nvSpPr>
        <p:spPr>
          <a:xfrm>
            <a:off x="1645753" y="1852272"/>
            <a:ext cx="4494196" cy="340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GB" sz="1200" b="1">
                <a:solidFill>
                  <a:schemeClr val="bg2"/>
                </a:solidFill>
                <a:latin typeface="Arial" panose="020B0604020202020204" pitchFamily="34" charset="0"/>
                <a:cs typeface="Arial" panose="020B0604020202020204" pitchFamily="34" charset="0"/>
              </a:rPr>
              <a:t>LinkedIn.com/company/bsfintechsociety</a:t>
            </a:r>
          </a:p>
        </p:txBody>
      </p:sp>
      <p:sp>
        <p:nvSpPr>
          <p:cNvPr id="25" name="Rectangle 24">
            <a:extLst>
              <a:ext uri="{FF2B5EF4-FFF2-40B4-BE49-F238E27FC236}">
                <a16:creationId xmlns:a16="http://schemas.microsoft.com/office/drawing/2014/main" id="{C24FA779-E778-4EDC-B48C-912EAFD87343}"/>
              </a:ext>
            </a:extLst>
          </p:cNvPr>
          <p:cNvSpPr/>
          <p:nvPr userDrawn="1"/>
        </p:nvSpPr>
        <p:spPr>
          <a:xfrm>
            <a:off x="1645753" y="2486312"/>
            <a:ext cx="1949664" cy="340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GB" sz="1200" b="1">
                <a:solidFill>
                  <a:schemeClr val="bg2"/>
                </a:solidFill>
                <a:latin typeface="Arial" panose="020B0604020202020204" pitchFamily="34" charset="0"/>
                <a:cs typeface="Arial" panose="020B0604020202020204" pitchFamily="34" charset="0"/>
              </a:rPr>
              <a:t>Bsfintechsociety.com</a:t>
            </a:r>
          </a:p>
        </p:txBody>
      </p:sp>
      <p:sp>
        <p:nvSpPr>
          <p:cNvPr id="26" name="Rectangle 25">
            <a:extLst>
              <a:ext uri="{FF2B5EF4-FFF2-40B4-BE49-F238E27FC236}">
                <a16:creationId xmlns:a16="http://schemas.microsoft.com/office/drawing/2014/main" id="{98C4EE85-C7DF-4058-AE6B-B56D834C51E9}"/>
              </a:ext>
            </a:extLst>
          </p:cNvPr>
          <p:cNvSpPr/>
          <p:nvPr userDrawn="1"/>
        </p:nvSpPr>
        <p:spPr>
          <a:xfrm>
            <a:off x="1645753" y="3120353"/>
            <a:ext cx="3435417" cy="3407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GB" sz="1200" b="1">
                <a:solidFill>
                  <a:schemeClr val="bg2"/>
                </a:solidFill>
                <a:latin typeface="Arial" panose="020B0604020202020204" pitchFamily="34" charset="0"/>
                <a:cs typeface="Arial" panose="020B0604020202020204" pitchFamily="34" charset="0"/>
              </a:rPr>
              <a:t>As.bsfintechsociety@unibocconi.it</a:t>
            </a:r>
          </a:p>
        </p:txBody>
      </p:sp>
      <p:pic>
        <p:nvPicPr>
          <p:cNvPr id="29" name="Immagine 28">
            <a:extLst>
              <a:ext uri="{FF2B5EF4-FFF2-40B4-BE49-F238E27FC236}">
                <a16:creationId xmlns:a16="http://schemas.microsoft.com/office/drawing/2014/main" id="{C5E9D368-4597-BD46-8E02-7A6623DA647D}"/>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7891065" y="301881"/>
            <a:ext cx="838001" cy="622515"/>
          </a:xfrm>
          <a:prstGeom prst="rect">
            <a:avLst/>
          </a:prstGeom>
        </p:spPr>
      </p:pic>
    </p:spTree>
    <p:extLst>
      <p:ext uri="{BB962C8B-B14F-4D97-AF65-F5344CB8AC3E}">
        <p14:creationId xmlns:p14="http://schemas.microsoft.com/office/powerpoint/2010/main" val="21312156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tif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image" Target="../media/image1.tif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7679" y="365126"/>
            <a:ext cx="8157671" cy="74488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57679" y="1412833"/>
            <a:ext cx="8428639" cy="39483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57680" y="6356351"/>
            <a:ext cx="2057400" cy="365125"/>
          </a:xfrm>
          <a:prstGeom prst="rect">
            <a:avLst/>
          </a:prstGeom>
        </p:spPr>
        <p:txBody>
          <a:bodyPr vert="horz" lIns="91440" tIns="45720" rIns="91440" bIns="45720" rtlCol="0" anchor="ctr"/>
          <a:lstStyle>
            <a:lvl1pPr algn="l">
              <a:defRPr sz="1000">
                <a:solidFill>
                  <a:schemeClr val="tx1"/>
                </a:solidFill>
                <a:latin typeface="Arial" panose="020B0604020202020204" pitchFamily="34" charset="0"/>
                <a:cs typeface="Arial" panose="020B0604020202020204" pitchFamily="34" charset="0"/>
              </a:defRPr>
            </a:lvl1pPr>
          </a:lstStyle>
          <a:p>
            <a:fld id="{C17419A9-4912-4D42-8F3D-1BD3BA7DCDCB}" type="datetime4">
              <a:rPr lang="en-US" smtClean="0"/>
              <a:pPr/>
              <a:t>November 21, 2024</a:t>
            </a:fld>
            <a:endParaRPr lang="en-US"/>
          </a:p>
        </p:txBody>
      </p:sp>
      <p:sp>
        <p:nvSpPr>
          <p:cNvPr id="6" name="Slide Number Placeholder 5"/>
          <p:cNvSpPr>
            <a:spLocks noGrp="1"/>
          </p:cNvSpPr>
          <p:nvPr>
            <p:ph type="sldNum" sz="quarter" idx="4"/>
          </p:nvPr>
        </p:nvSpPr>
        <p:spPr>
          <a:xfrm>
            <a:off x="6728920" y="6356351"/>
            <a:ext cx="20574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89BE3C81-78D6-4C4B-AF0E-1C8704E0A56F}" type="slidenum">
              <a:rPr lang="en-US" smtClean="0"/>
              <a:pPr/>
              <a:t>‹#›</a:t>
            </a:fld>
            <a:endParaRPr lang="en-US"/>
          </a:p>
        </p:txBody>
      </p:sp>
      <p:cxnSp>
        <p:nvCxnSpPr>
          <p:cNvPr id="10" name="Gerade Verbindung 16">
            <a:extLst>
              <a:ext uri="{FF2B5EF4-FFF2-40B4-BE49-F238E27FC236}">
                <a16:creationId xmlns:a16="http://schemas.microsoft.com/office/drawing/2014/main" id="{A87C7045-6273-4E43-BB24-431F0FC5CF23}"/>
              </a:ext>
            </a:extLst>
          </p:cNvPr>
          <p:cNvCxnSpPr>
            <a:cxnSpLocks/>
          </p:cNvCxnSpPr>
          <p:nvPr userDrawn="1"/>
        </p:nvCxnSpPr>
        <p:spPr>
          <a:xfrm>
            <a:off x="357680" y="5724696"/>
            <a:ext cx="842864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D4233E4-6572-4386-AC51-3080F4139C99}"/>
              </a:ext>
            </a:extLst>
          </p:cNvPr>
          <p:cNvSpPr txBox="1"/>
          <p:nvPr userDrawn="1"/>
        </p:nvSpPr>
        <p:spPr>
          <a:xfrm rot="16200000">
            <a:off x="7803196" y="4495353"/>
            <a:ext cx="2212465" cy="246221"/>
          </a:xfrm>
          <a:prstGeom prst="rect">
            <a:avLst/>
          </a:prstGeom>
          <a:noFill/>
        </p:spPr>
        <p:txBody>
          <a:bodyPr wrap="none" rtlCol="0">
            <a:spAutoFit/>
          </a:bodyPr>
          <a:lstStyle/>
          <a:p>
            <a:r>
              <a:rPr lang="en-CH" sz="1000" b="0" i="1">
                <a:solidFill>
                  <a:srgbClr val="202122"/>
                </a:solidFill>
                <a:effectLst/>
                <a:latin typeface="Arial" panose="020B0604020202020204" pitchFamily="34" charset="0"/>
              </a:rPr>
              <a:t>©</a:t>
            </a:r>
            <a:r>
              <a:rPr lang="en-US" sz="1000" b="0" i="1">
                <a:solidFill>
                  <a:srgbClr val="202122"/>
                </a:solidFill>
                <a:effectLst/>
                <a:latin typeface="Arial" panose="020B0604020202020204" pitchFamily="34" charset="0"/>
              </a:rPr>
              <a:t> </a:t>
            </a:r>
            <a:r>
              <a:rPr lang="en-US" sz="1000">
                <a:latin typeface="Arial" panose="020B0604020202020204" pitchFamily="34" charset="0"/>
                <a:cs typeface="Arial" panose="020B0604020202020204" pitchFamily="34" charset="0"/>
              </a:rPr>
              <a:t>Bocconi Students Fintech Society</a:t>
            </a:r>
            <a:endParaRPr lang="en-CH" sz="1000">
              <a:latin typeface="Arial" panose="020B0604020202020204" pitchFamily="34" charset="0"/>
              <a:cs typeface="Arial" panose="020B0604020202020204" pitchFamily="34" charset="0"/>
            </a:endParaRPr>
          </a:p>
        </p:txBody>
      </p:sp>
      <p:sp>
        <p:nvSpPr>
          <p:cNvPr id="12" name="Footer Placeholder 4">
            <a:extLst>
              <a:ext uri="{FF2B5EF4-FFF2-40B4-BE49-F238E27FC236}">
                <a16:creationId xmlns:a16="http://schemas.microsoft.com/office/drawing/2014/main" id="{4AD5E461-F6FB-4F86-A0CD-C8F5850C4015}"/>
              </a:ext>
            </a:extLst>
          </p:cNvPr>
          <p:cNvSpPr>
            <a:spLocks noGrp="1"/>
          </p:cNvSpPr>
          <p:nvPr>
            <p:ph type="ftr" sz="quarter" idx="3"/>
          </p:nvPr>
        </p:nvSpPr>
        <p:spPr>
          <a:xfrm>
            <a:off x="3028950" y="6356351"/>
            <a:ext cx="3086100" cy="365125"/>
          </a:xfrm>
          <a:prstGeom prst="rect">
            <a:avLst/>
          </a:prstGeom>
        </p:spPr>
        <p:txBody>
          <a:bodyPr anchor="ctr"/>
          <a:lstStyle>
            <a:lvl1pPr algn="ctr">
              <a:defRPr lang="en-US" sz="1200" kern="1200" dirty="0">
                <a:solidFill>
                  <a:schemeClr val="tx1"/>
                </a:solidFill>
                <a:latin typeface="+mn-lt"/>
                <a:ea typeface="+mn-ea"/>
                <a:cs typeface="+mn-cs"/>
              </a:defRPr>
            </a:lvl1pPr>
          </a:lstStyle>
          <a:p>
            <a:r>
              <a:rPr lang="en-US"/>
              <a:t>Footer</a:t>
            </a:r>
          </a:p>
        </p:txBody>
      </p:sp>
      <p:cxnSp>
        <p:nvCxnSpPr>
          <p:cNvPr id="13" name="Gerade Verbindung 16">
            <a:extLst>
              <a:ext uri="{FF2B5EF4-FFF2-40B4-BE49-F238E27FC236}">
                <a16:creationId xmlns:a16="http://schemas.microsoft.com/office/drawing/2014/main" id="{47135E85-8F96-4A42-90FD-F575698A59C7}"/>
              </a:ext>
            </a:extLst>
          </p:cNvPr>
          <p:cNvCxnSpPr>
            <a:cxnSpLocks/>
          </p:cNvCxnSpPr>
          <p:nvPr userDrawn="1"/>
        </p:nvCxnSpPr>
        <p:spPr>
          <a:xfrm>
            <a:off x="357680" y="1196812"/>
            <a:ext cx="842864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5" name="Immagine 4">
            <a:extLst>
              <a:ext uri="{FF2B5EF4-FFF2-40B4-BE49-F238E27FC236}">
                <a16:creationId xmlns:a16="http://schemas.microsoft.com/office/drawing/2014/main" id="{D51209DA-2C49-CC48-8453-2572EDC04CC6}"/>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8213551" y="470351"/>
            <a:ext cx="534436" cy="534436"/>
          </a:xfrm>
          <a:prstGeom prst="rect">
            <a:avLst/>
          </a:prstGeom>
        </p:spPr>
      </p:pic>
    </p:spTree>
    <p:extLst>
      <p:ext uri="{BB962C8B-B14F-4D97-AF65-F5344CB8AC3E}">
        <p14:creationId xmlns:p14="http://schemas.microsoft.com/office/powerpoint/2010/main" val="554044158"/>
      </p:ext>
    </p:extLst>
  </p:cSld>
  <p:clrMap bg1="dk1" tx1="lt1" bg2="dk2" tx2="lt2" accent1="accent1" accent2="accent2" accent3="accent3" accent4="accent4" accent5="accent5" accent6="accent6" hlink="hlink" folHlink="folHlink"/>
  <p:sldLayoutIdLst>
    <p:sldLayoutId id="2147483673" r:id="rId1"/>
    <p:sldLayoutId id="2147483674" r:id="rId2"/>
    <p:sldLayoutId id="2147483676" r:id="rId3"/>
    <p:sldLayoutId id="2147483678" r:id="rId4"/>
    <p:sldLayoutId id="2147483680" r:id="rId5"/>
    <p:sldLayoutId id="2147483681" r:id="rId6"/>
    <p:sldLayoutId id="2147483682" r:id="rId7"/>
    <p:sldLayoutId id="2147483683" r:id="rId8"/>
    <p:sldLayoutId id="2147483696" r:id="rId9"/>
    <p:sldLayoutId id="2147483684" r:id="rId10"/>
    <p:sldLayoutId id="2147483685" r:id="rId11"/>
    <p:sldLayoutId id="2147483699" r:id="rId12"/>
  </p:sldLayoutIdLst>
  <p:hf hdr="0" ftr="0"/>
  <p:txStyles>
    <p:titleStyle>
      <a:lvl1pPr algn="l" defTabSz="914400" rtl="0" eaLnBrk="1" latinLnBrk="0" hangingPunct="1">
        <a:lnSpc>
          <a:spcPct val="90000"/>
        </a:lnSpc>
        <a:spcBef>
          <a:spcPct val="0"/>
        </a:spcBef>
        <a:buNone/>
        <a:defRPr sz="2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4"/>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E098FEC-D714-421F-9938-4511B5B94D5F}"/>
              </a:ext>
            </a:extLst>
          </p:cNvPr>
          <p:cNvGraphicFramePr>
            <a:graphicFrameLocks noChangeAspect="1"/>
          </p:cNvGraphicFramePr>
          <p:nvPr>
            <p:custDataLst>
              <p:tags r:id="rId12"/>
            </p:custDataLst>
            <p:extLst>
              <p:ext uri="{D42A27DB-BD31-4B8C-83A1-F6EECF244321}">
                <p14:modId xmlns:p14="http://schemas.microsoft.com/office/powerpoint/2010/main" val="3912897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6" imgH="416" progId="TCLayout.ActiveDocument.1">
                  <p:embed/>
                </p:oleObj>
              </mc:Choice>
              <mc:Fallback>
                <p:oleObj name="think-cell Slide" r:id="rId13" imgW="406" imgH="416" progId="TCLayout.ActiveDocument.1">
                  <p:embed/>
                  <p:pic>
                    <p:nvPicPr>
                      <p:cNvPr id="9" name="Object 8" hidden="1">
                        <a:extLst>
                          <a:ext uri="{FF2B5EF4-FFF2-40B4-BE49-F238E27FC236}">
                            <a16:creationId xmlns:a16="http://schemas.microsoft.com/office/drawing/2014/main" id="{EE098FEC-D714-421F-9938-4511B5B94D5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57679" y="365126"/>
            <a:ext cx="8157671" cy="74488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57679" y="1412833"/>
            <a:ext cx="8428639" cy="39483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57680" y="6356351"/>
            <a:ext cx="2057400" cy="365125"/>
          </a:xfrm>
          <a:prstGeom prst="rect">
            <a:avLst/>
          </a:prstGeom>
        </p:spPr>
        <p:txBody>
          <a:bodyPr vert="horz" lIns="91440" tIns="45720" rIns="91440" bIns="45720" rtlCol="0" anchor="ctr"/>
          <a:lstStyle>
            <a:lvl1pPr algn="l">
              <a:defRPr sz="1000">
                <a:solidFill>
                  <a:schemeClr val="tx1"/>
                </a:solidFill>
                <a:latin typeface="Arial" panose="020B0604020202020204" pitchFamily="34" charset="0"/>
                <a:cs typeface="Arial" panose="020B0604020202020204" pitchFamily="34" charset="0"/>
              </a:defRPr>
            </a:lvl1pPr>
          </a:lstStyle>
          <a:p>
            <a:fld id="{849D2862-71BE-A843-B698-0A8DB3BD41A9}" type="datetime4">
              <a:rPr lang="it-IT" smtClean="0"/>
              <a:t>21 novembre 2024</a:t>
            </a:fld>
            <a:endParaRPr lang="en-US"/>
          </a:p>
        </p:txBody>
      </p:sp>
      <p:sp>
        <p:nvSpPr>
          <p:cNvPr id="6" name="Slide Number Placeholder 5"/>
          <p:cNvSpPr>
            <a:spLocks noGrp="1"/>
          </p:cNvSpPr>
          <p:nvPr>
            <p:ph type="sldNum" sz="quarter" idx="4"/>
          </p:nvPr>
        </p:nvSpPr>
        <p:spPr>
          <a:xfrm>
            <a:off x="6728920" y="6356351"/>
            <a:ext cx="20574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89BE3C81-78D6-4C4B-AF0E-1C8704E0A56F}" type="slidenum">
              <a:rPr lang="en-US" smtClean="0"/>
              <a:pPr/>
              <a:t>‹#›</a:t>
            </a:fld>
            <a:endParaRPr lang="en-US"/>
          </a:p>
        </p:txBody>
      </p:sp>
      <p:cxnSp>
        <p:nvCxnSpPr>
          <p:cNvPr id="10" name="Gerade Verbindung 16">
            <a:extLst>
              <a:ext uri="{FF2B5EF4-FFF2-40B4-BE49-F238E27FC236}">
                <a16:creationId xmlns:a16="http://schemas.microsoft.com/office/drawing/2014/main" id="{A87C7045-6273-4E43-BB24-431F0FC5CF23}"/>
              </a:ext>
            </a:extLst>
          </p:cNvPr>
          <p:cNvCxnSpPr>
            <a:cxnSpLocks/>
          </p:cNvCxnSpPr>
          <p:nvPr/>
        </p:nvCxnSpPr>
        <p:spPr>
          <a:xfrm>
            <a:off x="357680" y="5724696"/>
            <a:ext cx="842864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D4233E4-6572-4386-AC51-3080F4139C99}"/>
              </a:ext>
            </a:extLst>
          </p:cNvPr>
          <p:cNvSpPr txBox="1"/>
          <p:nvPr/>
        </p:nvSpPr>
        <p:spPr>
          <a:xfrm rot="16200000">
            <a:off x="7803196" y="4495353"/>
            <a:ext cx="2212465" cy="246221"/>
          </a:xfrm>
          <a:prstGeom prst="rect">
            <a:avLst/>
          </a:prstGeom>
          <a:noFill/>
        </p:spPr>
        <p:txBody>
          <a:bodyPr wrap="none" rtlCol="0">
            <a:spAutoFit/>
          </a:bodyPr>
          <a:lstStyle/>
          <a:p>
            <a:r>
              <a:rPr lang="en-CH" sz="1000" b="0" i="1">
                <a:solidFill>
                  <a:srgbClr val="202122"/>
                </a:solidFill>
                <a:effectLst/>
                <a:latin typeface="Arial" panose="020B0604020202020204" pitchFamily="34" charset="0"/>
              </a:rPr>
              <a:t>©</a:t>
            </a:r>
            <a:r>
              <a:rPr lang="en-US" sz="1000" b="0" i="1">
                <a:solidFill>
                  <a:srgbClr val="202122"/>
                </a:solidFill>
                <a:effectLst/>
                <a:latin typeface="Arial" panose="020B0604020202020204" pitchFamily="34" charset="0"/>
              </a:rPr>
              <a:t> </a:t>
            </a:r>
            <a:r>
              <a:rPr lang="en-US" sz="1000">
                <a:latin typeface="Arial" panose="020B0604020202020204" pitchFamily="34" charset="0"/>
                <a:cs typeface="Arial" panose="020B0604020202020204" pitchFamily="34" charset="0"/>
              </a:rPr>
              <a:t>Bocconi Students Fintech Society</a:t>
            </a:r>
            <a:endParaRPr lang="en-CH" sz="1000">
              <a:latin typeface="Arial" panose="020B0604020202020204" pitchFamily="34" charset="0"/>
              <a:cs typeface="Arial" panose="020B0604020202020204" pitchFamily="34" charset="0"/>
            </a:endParaRPr>
          </a:p>
        </p:txBody>
      </p:sp>
      <p:sp>
        <p:nvSpPr>
          <p:cNvPr id="12" name="Footer Placeholder 4">
            <a:extLst>
              <a:ext uri="{FF2B5EF4-FFF2-40B4-BE49-F238E27FC236}">
                <a16:creationId xmlns:a16="http://schemas.microsoft.com/office/drawing/2014/main" id="{4AD5E461-F6FB-4F86-A0CD-C8F5850C4015}"/>
              </a:ext>
            </a:extLst>
          </p:cNvPr>
          <p:cNvSpPr>
            <a:spLocks noGrp="1"/>
          </p:cNvSpPr>
          <p:nvPr>
            <p:ph type="ftr" sz="quarter" idx="3"/>
          </p:nvPr>
        </p:nvSpPr>
        <p:spPr>
          <a:xfrm>
            <a:off x="3028950" y="6356351"/>
            <a:ext cx="3086100" cy="365125"/>
          </a:xfrm>
          <a:prstGeom prst="rect">
            <a:avLst/>
          </a:prstGeom>
        </p:spPr>
        <p:txBody>
          <a:bodyPr anchor="ctr"/>
          <a:lstStyle>
            <a:lvl1pPr algn="ctr">
              <a:defRPr lang="en-US" sz="1200" kern="1200" dirty="0">
                <a:solidFill>
                  <a:schemeClr val="tx1"/>
                </a:solidFill>
                <a:latin typeface="+mn-lt"/>
                <a:ea typeface="+mn-ea"/>
                <a:cs typeface="+mn-cs"/>
              </a:defRPr>
            </a:lvl1pPr>
          </a:lstStyle>
          <a:p>
            <a:endParaRPr lang="en-US"/>
          </a:p>
        </p:txBody>
      </p:sp>
      <p:cxnSp>
        <p:nvCxnSpPr>
          <p:cNvPr id="13" name="Gerade Verbindung 16">
            <a:extLst>
              <a:ext uri="{FF2B5EF4-FFF2-40B4-BE49-F238E27FC236}">
                <a16:creationId xmlns:a16="http://schemas.microsoft.com/office/drawing/2014/main" id="{47135E85-8F96-4A42-90FD-F575698A59C7}"/>
              </a:ext>
            </a:extLst>
          </p:cNvPr>
          <p:cNvCxnSpPr>
            <a:cxnSpLocks/>
          </p:cNvCxnSpPr>
          <p:nvPr/>
        </p:nvCxnSpPr>
        <p:spPr>
          <a:xfrm>
            <a:off x="357680" y="1196812"/>
            <a:ext cx="842864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5" name="Immagine 4">
            <a:extLst>
              <a:ext uri="{FF2B5EF4-FFF2-40B4-BE49-F238E27FC236}">
                <a16:creationId xmlns:a16="http://schemas.microsoft.com/office/drawing/2014/main" id="{D51209DA-2C49-CC48-8453-2572EDC04CC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8213551" y="470351"/>
            <a:ext cx="534436" cy="534436"/>
          </a:xfrm>
          <a:prstGeom prst="rect">
            <a:avLst/>
          </a:prstGeom>
        </p:spPr>
      </p:pic>
    </p:spTree>
    <p:extLst>
      <p:ext uri="{BB962C8B-B14F-4D97-AF65-F5344CB8AC3E}">
        <p14:creationId xmlns:p14="http://schemas.microsoft.com/office/powerpoint/2010/main" val="554044158"/>
      </p:ext>
    </p:extLst>
  </p:cSld>
  <p:clrMap bg1="dk1" tx1="lt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8" r:id="rId10"/>
  </p:sldLayoutIdLst>
  <p:hf hdr="0" ftr="0"/>
  <p:txStyles>
    <p:titleStyle>
      <a:lvl1pPr algn="l" defTabSz="914400" rtl="0" eaLnBrk="1" latinLnBrk="0" hangingPunct="1">
        <a:lnSpc>
          <a:spcPct val="90000"/>
        </a:lnSpc>
        <a:spcBef>
          <a:spcPct val="0"/>
        </a:spcBef>
        <a:buNone/>
        <a:defRPr sz="2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4"/>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svg"/><Relationship Id="rId7" Type="http://schemas.openxmlformats.org/officeDocument/2006/relationships/image" Target="../media/image84.svg"/><Relationship Id="rId2" Type="http://schemas.openxmlformats.org/officeDocument/2006/relationships/image" Target="../media/image79.png"/><Relationship Id="rId1" Type="http://schemas.openxmlformats.org/officeDocument/2006/relationships/slideLayout" Target="../slideLayouts/slideLayout2.xml"/><Relationship Id="rId6" Type="http://schemas.openxmlformats.org/officeDocument/2006/relationships/image" Target="../media/image83.png"/><Relationship Id="rId5" Type="http://schemas.openxmlformats.org/officeDocument/2006/relationships/image" Target="../media/image82.svg"/><Relationship Id="rId10" Type="http://schemas.openxmlformats.org/officeDocument/2006/relationships/image" Target="../media/image87.jpg"/><Relationship Id="rId4" Type="http://schemas.openxmlformats.org/officeDocument/2006/relationships/image" Target="../media/image81.png"/><Relationship Id="rId9" Type="http://schemas.openxmlformats.org/officeDocument/2006/relationships/image" Target="../media/image86.png"/></Relationships>
</file>

<file path=ppt/slides/_rels/slide12.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image" Target="../media/image88.png"/><Relationship Id="rId1" Type="http://schemas.openxmlformats.org/officeDocument/2006/relationships/slideLayout" Target="../slideLayouts/slideLayout14.xml"/><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image" Target="../media/image9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5.png"/><Relationship Id="rId7" Type="http://schemas.openxmlformats.org/officeDocument/2006/relationships/image" Target="../media/image72.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97.png"/><Relationship Id="rId5" Type="http://schemas.openxmlformats.org/officeDocument/2006/relationships/image" Target="../media/image62.png"/><Relationship Id="rId4" Type="http://schemas.openxmlformats.org/officeDocument/2006/relationships/image" Target="../media/image96.jpeg"/></Relationships>
</file>

<file path=ppt/slides/_rels/slide15.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104.jpeg"/><Relationship Id="rId5" Type="http://schemas.openxmlformats.org/officeDocument/2006/relationships/image" Target="../media/image103.png"/><Relationship Id="rId4" Type="http://schemas.openxmlformats.org/officeDocument/2006/relationships/image" Target="../media/image102.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15.png"/><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hyperlink" Target="mailto:sergiu.denis@studbocconi.it" TargetMode="External"/><Relationship Id="rId13" Type="http://schemas.openxmlformats.org/officeDocument/2006/relationships/hyperlink" Target="https://www.linkedin.com/in/alessandro-mauro-/" TargetMode="External"/><Relationship Id="rId18" Type="http://schemas.openxmlformats.org/officeDocument/2006/relationships/hyperlink" Target="mailto:ghali.taoussi@studbocconi.it" TargetMode="External"/><Relationship Id="rId3" Type="http://schemas.openxmlformats.org/officeDocument/2006/relationships/image" Target="../media/image16.png"/><Relationship Id="rId7" Type="http://schemas.openxmlformats.org/officeDocument/2006/relationships/hyperlink" Target="https://www.linkedin.com/in/sergiu-lazar-denis-8b48a31b0/" TargetMode="External"/><Relationship Id="rId12" Type="http://schemas.openxmlformats.org/officeDocument/2006/relationships/image" Target="../media/image20.png"/><Relationship Id="rId17" Type="http://schemas.openxmlformats.org/officeDocument/2006/relationships/hyperlink" Target="https://www.linkedin.com/in/ghali-taoussi-27a401171/" TargetMode="External"/><Relationship Id="rId2" Type="http://schemas.openxmlformats.org/officeDocument/2006/relationships/hyperlink" Target="https://www.linkedin.com/in/ginevra-manfriani-82a152212/" TargetMode="External"/><Relationship Id="rId16"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18.png"/><Relationship Id="rId11" Type="http://schemas.openxmlformats.org/officeDocument/2006/relationships/hyperlink" Target="mailto:arianna.sossi@studbocconi.it" TargetMode="External"/><Relationship Id="rId5" Type="http://schemas.openxmlformats.org/officeDocument/2006/relationships/image" Target="../media/image17.png"/><Relationship Id="rId15" Type="http://schemas.openxmlformats.org/officeDocument/2006/relationships/image" Target="../media/image21.png"/><Relationship Id="rId10" Type="http://schemas.openxmlformats.org/officeDocument/2006/relationships/hyperlink" Target="https://www.linkedin.com/in/arianna-sossi-26a992191/" TargetMode="External"/><Relationship Id="rId19" Type="http://schemas.openxmlformats.org/officeDocument/2006/relationships/image" Target="../media/image23.png"/><Relationship Id="rId4" Type="http://schemas.openxmlformats.org/officeDocument/2006/relationships/hyperlink" Target="mailto:ginevra.manfriani@studbocconi.it" TargetMode="External"/><Relationship Id="rId9" Type="http://schemas.openxmlformats.org/officeDocument/2006/relationships/image" Target="../media/image19.png"/><Relationship Id="rId14" Type="http://schemas.openxmlformats.org/officeDocument/2006/relationships/hyperlink" Target="mailto:alessandro.mauro@studbocconi.it"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jpeg"/><Relationship Id="rId3" Type="http://schemas.openxmlformats.org/officeDocument/2006/relationships/image" Target="../media/image28.png"/><Relationship Id="rId7" Type="http://schemas.openxmlformats.org/officeDocument/2006/relationships/image" Target="../media/image32.jpeg"/><Relationship Id="rId12" Type="http://schemas.openxmlformats.org/officeDocument/2006/relationships/image" Target="../media/image37.png"/><Relationship Id="rId2" Type="http://schemas.openxmlformats.org/officeDocument/2006/relationships/image" Target="../media/image27.jpeg"/><Relationship Id="rId1" Type="http://schemas.openxmlformats.org/officeDocument/2006/relationships/slideLayout" Target="../slideLayouts/slideLayout2.xml"/><Relationship Id="rId6" Type="http://schemas.openxmlformats.org/officeDocument/2006/relationships/image" Target="../media/image31.jpeg"/><Relationship Id="rId11" Type="http://schemas.openxmlformats.org/officeDocument/2006/relationships/image" Target="../media/image36.png"/><Relationship Id="rId5" Type="http://schemas.openxmlformats.org/officeDocument/2006/relationships/image" Target="../media/image30.jpeg"/><Relationship Id="rId10" Type="http://schemas.openxmlformats.org/officeDocument/2006/relationships/image" Target="../media/image35.png"/><Relationship Id="rId4" Type="http://schemas.openxmlformats.org/officeDocument/2006/relationships/image" Target="../media/image29.jpeg"/><Relationship Id="rId9" Type="http://schemas.openxmlformats.org/officeDocument/2006/relationships/image" Target="../media/image34.jpeg"/></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image" Target="../media/image41.png"/><Relationship Id="rId4" Type="http://schemas.openxmlformats.org/officeDocument/2006/relationships/image" Target="../media/image40.jpeg"/></Relationships>
</file>

<file path=ppt/slides/_rels/slide7.xml.rels><?xml version="1.0" encoding="UTF-8" standalone="yes"?>
<Relationships xmlns="http://schemas.openxmlformats.org/package/2006/relationships"><Relationship Id="rId8" Type="http://schemas.openxmlformats.org/officeDocument/2006/relationships/image" Target="../media/image48.jpeg"/><Relationship Id="rId13" Type="http://schemas.openxmlformats.org/officeDocument/2006/relationships/image" Target="../media/image53.jpeg"/><Relationship Id="rId3" Type="http://schemas.openxmlformats.org/officeDocument/2006/relationships/image" Target="../media/image43.jpeg"/><Relationship Id="rId7" Type="http://schemas.openxmlformats.org/officeDocument/2006/relationships/image" Target="../media/image47.jpeg"/><Relationship Id="rId12" Type="http://schemas.openxmlformats.org/officeDocument/2006/relationships/image" Target="../media/image52.jpeg"/><Relationship Id="rId2" Type="http://schemas.openxmlformats.org/officeDocument/2006/relationships/image" Target="../media/image42.jpeg"/><Relationship Id="rId1" Type="http://schemas.openxmlformats.org/officeDocument/2006/relationships/slideLayout" Target="../slideLayouts/slideLayout2.xml"/><Relationship Id="rId6" Type="http://schemas.openxmlformats.org/officeDocument/2006/relationships/image" Target="../media/image46.jpeg"/><Relationship Id="rId11" Type="http://schemas.openxmlformats.org/officeDocument/2006/relationships/image" Target="../media/image51.jpeg"/><Relationship Id="rId5" Type="http://schemas.openxmlformats.org/officeDocument/2006/relationships/image" Target="../media/image45.jpeg"/><Relationship Id="rId10" Type="http://schemas.openxmlformats.org/officeDocument/2006/relationships/image" Target="../media/image50.jpeg"/><Relationship Id="rId4" Type="http://schemas.openxmlformats.org/officeDocument/2006/relationships/image" Target="../media/image44.jpeg"/><Relationship Id="rId9" Type="http://schemas.openxmlformats.org/officeDocument/2006/relationships/image" Target="../media/image49.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18" Type="http://schemas.openxmlformats.org/officeDocument/2006/relationships/image" Target="../media/image70.png"/><Relationship Id="rId3" Type="http://schemas.openxmlformats.org/officeDocument/2006/relationships/image" Target="../media/image55.png"/><Relationship Id="rId21" Type="http://schemas.openxmlformats.org/officeDocument/2006/relationships/image" Target="../media/image73.png"/><Relationship Id="rId7" Type="http://schemas.openxmlformats.org/officeDocument/2006/relationships/image" Target="../media/image59.png"/><Relationship Id="rId12" Type="http://schemas.openxmlformats.org/officeDocument/2006/relationships/image" Target="../media/image64.png"/><Relationship Id="rId17" Type="http://schemas.openxmlformats.org/officeDocument/2006/relationships/image" Target="../media/image69.png"/><Relationship Id="rId25" Type="http://schemas.openxmlformats.org/officeDocument/2006/relationships/image" Target="../media/image77.png"/><Relationship Id="rId2" Type="http://schemas.openxmlformats.org/officeDocument/2006/relationships/image" Target="../media/image54.png"/><Relationship Id="rId16" Type="http://schemas.openxmlformats.org/officeDocument/2006/relationships/image" Target="../media/image68.png"/><Relationship Id="rId20" Type="http://schemas.openxmlformats.org/officeDocument/2006/relationships/image" Target="../media/image72.png"/><Relationship Id="rId1" Type="http://schemas.openxmlformats.org/officeDocument/2006/relationships/slideLayout" Target="../slideLayouts/slideLayout11.xml"/><Relationship Id="rId6" Type="http://schemas.openxmlformats.org/officeDocument/2006/relationships/image" Target="../media/image58.png"/><Relationship Id="rId11" Type="http://schemas.openxmlformats.org/officeDocument/2006/relationships/image" Target="../media/image63.png"/><Relationship Id="rId24" Type="http://schemas.openxmlformats.org/officeDocument/2006/relationships/image" Target="../media/image76.png"/><Relationship Id="rId5" Type="http://schemas.openxmlformats.org/officeDocument/2006/relationships/image" Target="../media/image57.png"/><Relationship Id="rId15" Type="http://schemas.openxmlformats.org/officeDocument/2006/relationships/image" Target="../media/image67.png"/><Relationship Id="rId23" Type="http://schemas.openxmlformats.org/officeDocument/2006/relationships/image" Target="../media/image75.png"/><Relationship Id="rId10" Type="http://schemas.openxmlformats.org/officeDocument/2006/relationships/image" Target="../media/image62.png"/><Relationship Id="rId19" Type="http://schemas.openxmlformats.org/officeDocument/2006/relationships/image" Target="../media/image71.png"/><Relationship Id="rId4" Type="http://schemas.openxmlformats.org/officeDocument/2006/relationships/image" Target="../media/image56.png"/><Relationship Id="rId9" Type="http://schemas.openxmlformats.org/officeDocument/2006/relationships/image" Target="../media/image61.png"/><Relationship Id="rId14" Type="http://schemas.openxmlformats.org/officeDocument/2006/relationships/image" Target="../media/image66.png"/><Relationship Id="rId22" Type="http://schemas.openxmlformats.org/officeDocument/2006/relationships/image" Target="../media/image7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D2A21F-98A3-416D-A864-0DBA10440960}"/>
              </a:ext>
            </a:extLst>
          </p:cNvPr>
          <p:cNvSpPr>
            <a:spLocks noGrp="1"/>
          </p:cNvSpPr>
          <p:nvPr>
            <p:ph type="body" sz="quarter" idx="13"/>
          </p:nvPr>
        </p:nvSpPr>
        <p:spPr>
          <a:xfrm>
            <a:off x="357188" y="2591753"/>
            <a:ext cx="5586412" cy="648468"/>
          </a:xfrm>
        </p:spPr>
        <p:txBody>
          <a:bodyPr>
            <a:normAutofit fontScale="92500" lnSpcReduction="10000"/>
          </a:bodyPr>
          <a:lstStyle/>
          <a:p>
            <a:r>
              <a:rPr lang="en-US" sz="1900" dirty="0"/>
              <a:t>Onboarding</a:t>
            </a:r>
          </a:p>
          <a:p>
            <a:r>
              <a:rPr lang="en-US" sz="1700" b="0"/>
              <a:t>November 2024</a:t>
            </a:r>
            <a:endParaRPr lang="en-US" sz="1700" b="0" dirty="0"/>
          </a:p>
        </p:txBody>
      </p:sp>
    </p:spTree>
    <p:extLst>
      <p:ext uri="{BB962C8B-B14F-4D97-AF65-F5344CB8AC3E}">
        <p14:creationId xmlns:p14="http://schemas.microsoft.com/office/powerpoint/2010/main" val="1267536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EE4C3D0-AD4F-8884-75AC-79E97FBBBDDA}"/>
              </a:ext>
            </a:extLst>
          </p:cNvPr>
          <p:cNvSpPr/>
          <p:nvPr/>
        </p:nvSpPr>
        <p:spPr>
          <a:xfrm>
            <a:off x="0" y="1"/>
            <a:ext cx="9144000" cy="6858000"/>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T" dirty="0"/>
              <a:t>C</a:t>
            </a:r>
          </a:p>
        </p:txBody>
      </p:sp>
      <p:pic>
        <p:nvPicPr>
          <p:cNvPr id="2050" name="Picture 2" descr="Bocconi Campus VR">
            <a:extLst>
              <a:ext uri="{FF2B5EF4-FFF2-40B4-BE49-F238E27FC236}">
                <a16:creationId xmlns:a16="http://schemas.microsoft.com/office/drawing/2014/main" id="{C231DC4F-F798-7931-2292-4D68E07E4612}"/>
              </a:ext>
            </a:extLst>
          </p:cNvPr>
          <p:cNvPicPr>
            <a:picLocks noChangeAspect="1" noChangeArrowheads="1"/>
          </p:cNvPicPr>
          <p:nvPr/>
        </p:nvPicPr>
        <p:blipFill rotWithShape="1">
          <a:blip r:embed="rId2">
            <a:alphaModFix amt="66000"/>
            <a:extLst>
              <a:ext uri="{28A0092B-C50C-407E-A947-70E740481C1C}">
                <a14:useLocalDpi xmlns:a14="http://schemas.microsoft.com/office/drawing/2010/main" val="0"/>
              </a:ext>
            </a:extLst>
          </a:blip>
          <a:srcRect l="10317" r="11678" b="12130"/>
          <a:stretch/>
        </p:blipFill>
        <p:spPr bwMode="auto">
          <a:xfrm>
            <a:off x="0" y="0"/>
            <a:ext cx="9144000" cy="6857999"/>
          </a:xfrm>
          <a:prstGeom prst="rect">
            <a:avLst/>
          </a:prstGeom>
          <a:noFill/>
        </p:spPr>
      </p:pic>
      <p:sp>
        <p:nvSpPr>
          <p:cNvPr id="9" name="TextBox 8">
            <a:extLst>
              <a:ext uri="{FF2B5EF4-FFF2-40B4-BE49-F238E27FC236}">
                <a16:creationId xmlns:a16="http://schemas.microsoft.com/office/drawing/2014/main" id="{80BD7497-12A0-2286-8155-307682FF0974}"/>
              </a:ext>
            </a:extLst>
          </p:cNvPr>
          <p:cNvSpPr txBox="1"/>
          <p:nvPr/>
        </p:nvSpPr>
        <p:spPr>
          <a:xfrm>
            <a:off x="2454965" y="2705724"/>
            <a:ext cx="4234070" cy="1446550"/>
          </a:xfrm>
          <a:prstGeom prst="rect">
            <a:avLst/>
          </a:prstGeom>
          <a:noFill/>
          <a:effectLst>
            <a:outerShdw blurRad="50800" dist="50800" dir="5520000" algn="ctr" rotWithShape="0">
              <a:srgbClr val="000000">
                <a:alpha val="43137"/>
              </a:srgbClr>
            </a:outerShdw>
          </a:effectLst>
        </p:spPr>
        <p:txBody>
          <a:bodyPr wrap="square" rtlCol="0">
            <a:spAutoFit/>
          </a:bodyPr>
          <a:lstStyle/>
          <a:p>
            <a:pPr algn="ctr"/>
            <a:r>
              <a:rPr lang="en-IT" sz="4400" b="1" dirty="0">
                <a:solidFill>
                  <a:schemeClr val="bg2"/>
                </a:solidFill>
                <a:latin typeface="BODONI 72 BOOK" pitchFamily="2" charset="0"/>
              </a:rPr>
              <a:t>Public Relations Division</a:t>
            </a:r>
          </a:p>
        </p:txBody>
      </p:sp>
    </p:spTree>
    <p:extLst>
      <p:ext uri="{BB962C8B-B14F-4D97-AF65-F5344CB8AC3E}">
        <p14:creationId xmlns:p14="http://schemas.microsoft.com/office/powerpoint/2010/main" val="9556997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025FA-3E0F-4089-46B2-1B4FF5DDEBCC}"/>
              </a:ext>
            </a:extLst>
          </p:cNvPr>
          <p:cNvSpPr>
            <a:spLocks noGrp="1"/>
          </p:cNvSpPr>
          <p:nvPr>
            <p:ph type="title"/>
          </p:nvPr>
        </p:nvSpPr>
        <p:spPr/>
        <p:txBody>
          <a:bodyPr/>
          <a:lstStyle/>
          <a:p>
            <a:r>
              <a:rPr lang="en-GB" dirty="0">
                <a:latin typeface="Arial"/>
                <a:cs typeface="Arial"/>
              </a:rPr>
              <a:t>About Public Relations</a:t>
            </a:r>
          </a:p>
        </p:txBody>
      </p:sp>
      <p:sp>
        <p:nvSpPr>
          <p:cNvPr id="3" name="Content Placeholder 2">
            <a:extLst>
              <a:ext uri="{FF2B5EF4-FFF2-40B4-BE49-F238E27FC236}">
                <a16:creationId xmlns:a16="http://schemas.microsoft.com/office/drawing/2014/main" id="{34D7DDB9-49BA-41CA-34BC-549A055A7EA4}"/>
              </a:ext>
            </a:extLst>
          </p:cNvPr>
          <p:cNvSpPr>
            <a:spLocks noGrp="1"/>
          </p:cNvSpPr>
          <p:nvPr>
            <p:ph idx="1"/>
          </p:nvPr>
        </p:nvSpPr>
        <p:spPr/>
        <p:txBody>
          <a:bodyPr vert="horz" lIns="91440" tIns="45720" rIns="91440" bIns="45720" rtlCol="0" anchor="t">
            <a:noAutofit/>
          </a:bodyPr>
          <a:lstStyle/>
          <a:p>
            <a:pPr marL="12700" marR="5080">
              <a:lnSpc>
                <a:spcPct val="100000"/>
              </a:lnSpc>
              <a:spcBef>
                <a:spcPts val="359"/>
              </a:spcBef>
            </a:pPr>
            <a:r>
              <a:rPr lang="en-GB" spc="-10" dirty="0">
                <a:latin typeface="Arial MT"/>
              </a:rPr>
              <a:t>Goal: Keep up with the FinTech news, the events and reports of the association and create educational material, and then publish them on social media (</a:t>
            </a:r>
            <a:r>
              <a:rPr lang="en-GB" spc="-10" dirty="0" err="1">
                <a:latin typeface="Arial MT"/>
              </a:rPr>
              <a:t>Linkedin</a:t>
            </a:r>
            <a:r>
              <a:rPr lang="en-GB" spc="-10" dirty="0">
                <a:latin typeface="Arial MT"/>
              </a:rPr>
              <a:t>, Instagram mainly).</a:t>
            </a:r>
          </a:p>
        </p:txBody>
      </p:sp>
      <p:sp>
        <p:nvSpPr>
          <p:cNvPr id="5" name="Slide Number Placeholder 4">
            <a:extLst>
              <a:ext uri="{FF2B5EF4-FFF2-40B4-BE49-F238E27FC236}">
                <a16:creationId xmlns:a16="http://schemas.microsoft.com/office/drawing/2014/main" id="{01CF5947-5D81-0373-A5B2-1C75EF416E73}"/>
              </a:ext>
            </a:extLst>
          </p:cNvPr>
          <p:cNvSpPr>
            <a:spLocks noGrp="1"/>
          </p:cNvSpPr>
          <p:nvPr>
            <p:ph type="sldNum" sz="quarter" idx="12"/>
          </p:nvPr>
        </p:nvSpPr>
        <p:spPr/>
        <p:txBody>
          <a:bodyPr/>
          <a:lstStyle/>
          <a:p>
            <a:fld id="{330EA680-D336-4FF7-8B7A-9848BB0A1C32}" type="slidenum">
              <a:rPr lang="en-US" smtClean="0"/>
              <a:pPr/>
              <a:t>11</a:t>
            </a:fld>
            <a:endParaRPr lang="en-US"/>
          </a:p>
        </p:txBody>
      </p:sp>
      <p:cxnSp>
        <p:nvCxnSpPr>
          <p:cNvPr id="54" name="Connettore 1 26">
            <a:extLst>
              <a:ext uri="{FF2B5EF4-FFF2-40B4-BE49-F238E27FC236}">
                <a16:creationId xmlns:a16="http://schemas.microsoft.com/office/drawing/2014/main" id="{49AD4537-22AB-C911-0E45-841E1E8ECF79}"/>
              </a:ext>
            </a:extLst>
          </p:cNvPr>
          <p:cNvCxnSpPr>
            <a:cxnSpLocks/>
          </p:cNvCxnSpPr>
          <p:nvPr/>
        </p:nvCxnSpPr>
        <p:spPr>
          <a:xfrm>
            <a:off x="4659621" y="2272723"/>
            <a:ext cx="0" cy="2016000"/>
          </a:xfrm>
          <a:prstGeom prst="line">
            <a:avLst/>
          </a:prstGeom>
          <a:ln cmpd="sng">
            <a:solidFill>
              <a:schemeClr val="tx1"/>
            </a:solidFill>
            <a:prstDash val="sysDot"/>
          </a:ln>
        </p:spPr>
        <p:style>
          <a:lnRef idx="1">
            <a:schemeClr val="dk1"/>
          </a:lnRef>
          <a:fillRef idx="0">
            <a:schemeClr val="dk1"/>
          </a:fillRef>
          <a:effectRef idx="0">
            <a:schemeClr val="dk1"/>
          </a:effectRef>
          <a:fontRef idx="minor">
            <a:schemeClr val="tx1"/>
          </a:fontRef>
        </p:style>
      </p:cxnSp>
      <p:cxnSp>
        <p:nvCxnSpPr>
          <p:cNvPr id="55" name="Connettore 1 27">
            <a:extLst>
              <a:ext uri="{FF2B5EF4-FFF2-40B4-BE49-F238E27FC236}">
                <a16:creationId xmlns:a16="http://schemas.microsoft.com/office/drawing/2014/main" id="{D7A40DF1-E548-6903-171E-E73F4B66E66D}"/>
              </a:ext>
            </a:extLst>
          </p:cNvPr>
          <p:cNvCxnSpPr>
            <a:cxnSpLocks/>
          </p:cNvCxnSpPr>
          <p:nvPr/>
        </p:nvCxnSpPr>
        <p:spPr>
          <a:xfrm>
            <a:off x="2415080" y="2255679"/>
            <a:ext cx="0" cy="2016000"/>
          </a:xfrm>
          <a:prstGeom prst="line">
            <a:avLst/>
          </a:prstGeom>
          <a:ln cmpd="sng">
            <a:solidFill>
              <a:schemeClr val="tx1"/>
            </a:solidFill>
            <a:prstDash val="sysDot"/>
          </a:ln>
        </p:spPr>
        <p:style>
          <a:lnRef idx="1">
            <a:schemeClr val="dk1"/>
          </a:lnRef>
          <a:fillRef idx="0">
            <a:schemeClr val="dk1"/>
          </a:fillRef>
          <a:effectRef idx="0">
            <a:schemeClr val="dk1"/>
          </a:effectRef>
          <a:fontRef idx="minor">
            <a:schemeClr val="tx1"/>
          </a:fontRef>
        </p:style>
      </p:cxnSp>
      <p:grpSp>
        <p:nvGrpSpPr>
          <p:cNvPr id="94" name="Group 93">
            <a:extLst>
              <a:ext uri="{FF2B5EF4-FFF2-40B4-BE49-F238E27FC236}">
                <a16:creationId xmlns:a16="http://schemas.microsoft.com/office/drawing/2014/main" id="{C2D00059-B908-3703-9044-AAFD74AEBC2E}"/>
              </a:ext>
            </a:extLst>
          </p:cNvPr>
          <p:cNvGrpSpPr/>
          <p:nvPr/>
        </p:nvGrpSpPr>
        <p:grpSpPr>
          <a:xfrm>
            <a:off x="568945" y="2331995"/>
            <a:ext cx="1735200" cy="2444320"/>
            <a:chOff x="568945" y="2331995"/>
            <a:chExt cx="1735200" cy="2444320"/>
          </a:xfrm>
        </p:grpSpPr>
        <p:grpSp>
          <p:nvGrpSpPr>
            <p:cNvPr id="56" name="Group 55">
              <a:extLst>
                <a:ext uri="{FF2B5EF4-FFF2-40B4-BE49-F238E27FC236}">
                  <a16:creationId xmlns:a16="http://schemas.microsoft.com/office/drawing/2014/main" id="{3BB98201-85D1-DF19-85DD-DA08781D9C66}"/>
                </a:ext>
              </a:extLst>
            </p:cNvPr>
            <p:cNvGrpSpPr/>
            <p:nvPr/>
          </p:nvGrpSpPr>
          <p:grpSpPr>
            <a:xfrm>
              <a:off x="568945" y="2331995"/>
              <a:ext cx="1735200" cy="1295729"/>
              <a:chOff x="568945" y="2331995"/>
              <a:chExt cx="1735200" cy="1295729"/>
            </a:xfrm>
          </p:grpSpPr>
          <p:sp>
            <p:nvSpPr>
              <p:cNvPr id="14" name="Rectangle 13">
                <a:extLst>
                  <a:ext uri="{FF2B5EF4-FFF2-40B4-BE49-F238E27FC236}">
                    <a16:creationId xmlns:a16="http://schemas.microsoft.com/office/drawing/2014/main" id="{F77A8C06-5FDF-2FC0-F987-E7122AE6BA0F}"/>
                  </a:ext>
                </a:extLst>
              </p:cNvPr>
              <p:cNvSpPr/>
              <p:nvPr/>
            </p:nvSpPr>
            <p:spPr>
              <a:xfrm>
                <a:off x="771421" y="2552455"/>
                <a:ext cx="1524840"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dirty="0"/>
                  <a:t>Important News</a:t>
                </a:r>
                <a:endParaRPr lang="en-GB" sz="1200" dirty="0"/>
              </a:p>
            </p:txBody>
          </p:sp>
          <p:grpSp>
            <p:nvGrpSpPr>
              <p:cNvPr id="53" name="Group 52">
                <a:extLst>
                  <a:ext uri="{FF2B5EF4-FFF2-40B4-BE49-F238E27FC236}">
                    <a16:creationId xmlns:a16="http://schemas.microsoft.com/office/drawing/2014/main" id="{181C9B08-9194-BF66-4749-067ECD4978B9}"/>
                  </a:ext>
                </a:extLst>
              </p:cNvPr>
              <p:cNvGrpSpPr/>
              <p:nvPr/>
            </p:nvGrpSpPr>
            <p:grpSpPr>
              <a:xfrm>
                <a:off x="568945" y="2331995"/>
                <a:ext cx="1735200" cy="1295729"/>
                <a:chOff x="1644194" y="2331928"/>
                <a:chExt cx="1735200" cy="1295729"/>
              </a:xfrm>
            </p:grpSpPr>
            <p:grpSp>
              <p:nvGrpSpPr>
                <p:cNvPr id="52" name="Group 51">
                  <a:extLst>
                    <a:ext uri="{FF2B5EF4-FFF2-40B4-BE49-F238E27FC236}">
                      <a16:creationId xmlns:a16="http://schemas.microsoft.com/office/drawing/2014/main" id="{A6F79738-0E92-07DE-CE80-2EE61CF7B18C}"/>
                    </a:ext>
                  </a:extLst>
                </p:cNvPr>
                <p:cNvGrpSpPr/>
                <p:nvPr/>
              </p:nvGrpSpPr>
              <p:grpSpPr>
                <a:xfrm>
                  <a:off x="1644194" y="2331928"/>
                  <a:ext cx="1735200" cy="1295729"/>
                  <a:chOff x="1644194" y="2331928"/>
                  <a:chExt cx="1735200" cy="1295729"/>
                </a:xfrm>
              </p:grpSpPr>
              <p:sp>
                <p:nvSpPr>
                  <p:cNvPr id="9" name="Rectangle 8">
                    <a:extLst>
                      <a:ext uri="{FF2B5EF4-FFF2-40B4-BE49-F238E27FC236}">
                        <a16:creationId xmlns:a16="http://schemas.microsoft.com/office/drawing/2014/main" id="{2E18B5CB-6516-88EB-9967-9DEE336304F0}"/>
                      </a:ext>
                    </a:extLst>
                  </p:cNvPr>
                  <p:cNvSpPr/>
                  <p:nvPr/>
                </p:nvSpPr>
                <p:spPr>
                  <a:xfrm>
                    <a:off x="1644194" y="2331928"/>
                    <a:ext cx="1735200"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1600" b="1" dirty="0">
                        <a:solidFill>
                          <a:schemeClr val="accent4"/>
                        </a:solidFill>
                      </a:rPr>
                      <a:t>Content Research</a:t>
                    </a:r>
                  </a:p>
                </p:txBody>
              </p:sp>
              <p:sp>
                <p:nvSpPr>
                  <p:cNvPr id="15" name="Rectangle 14">
                    <a:extLst>
                      <a:ext uri="{FF2B5EF4-FFF2-40B4-BE49-F238E27FC236}">
                        <a16:creationId xmlns:a16="http://schemas.microsoft.com/office/drawing/2014/main" id="{5083ACF2-B04B-FBFF-19A4-133755BC8AAE}"/>
                      </a:ext>
                    </a:extLst>
                  </p:cNvPr>
                  <p:cNvSpPr/>
                  <p:nvPr/>
                </p:nvSpPr>
                <p:spPr>
                  <a:xfrm>
                    <a:off x="1854554" y="2764216"/>
                    <a:ext cx="1524839"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dirty="0"/>
                      <a:t>How ?</a:t>
                    </a:r>
                  </a:p>
                </p:txBody>
              </p:sp>
              <p:sp>
                <p:nvSpPr>
                  <p:cNvPr id="25" name="Rectangle 24">
                    <a:extLst>
                      <a:ext uri="{FF2B5EF4-FFF2-40B4-BE49-F238E27FC236}">
                        <a16:creationId xmlns:a16="http://schemas.microsoft.com/office/drawing/2014/main" id="{6069ADE2-F494-511D-9EB6-8AF35E02C69D}"/>
                      </a:ext>
                    </a:extLst>
                  </p:cNvPr>
                  <p:cNvSpPr/>
                  <p:nvPr/>
                </p:nvSpPr>
                <p:spPr>
                  <a:xfrm>
                    <a:off x="2050628" y="2981133"/>
                    <a:ext cx="1328765"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t>Bloomberg News</a:t>
                    </a:r>
                  </a:p>
                </p:txBody>
              </p:sp>
              <p:sp>
                <p:nvSpPr>
                  <p:cNvPr id="26" name="Rectangle 25">
                    <a:extLst>
                      <a:ext uri="{FF2B5EF4-FFF2-40B4-BE49-F238E27FC236}">
                        <a16:creationId xmlns:a16="http://schemas.microsoft.com/office/drawing/2014/main" id="{C4E7933C-2269-C97D-AA12-E51F747FEBA1}"/>
                      </a:ext>
                    </a:extLst>
                  </p:cNvPr>
                  <p:cNvSpPr/>
                  <p:nvPr/>
                </p:nvSpPr>
                <p:spPr>
                  <a:xfrm>
                    <a:off x="2050627" y="3196641"/>
                    <a:ext cx="1328766"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t>Financial Times</a:t>
                    </a:r>
                  </a:p>
                </p:txBody>
              </p:sp>
              <p:sp>
                <p:nvSpPr>
                  <p:cNvPr id="27" name="Rectangle 26">
                    <a:extLst>
                      <a:ext uri="{FF2B5EF4-FFF2-40B4-BE49-F238E27FC236}">
                        <a16:creationId xmlns:a16="http://schemas.microsoft.com/office/drawing/2014/main" id="{86C953F8-6A8C-1638-30B8-10471B9B1E4E}"/>
                      </a:ext>
                    </a:extLst>
                  </p:cNvPr>
                  <p:cNvSpPr/>
                  <p:nvPr/>
                </p:nvSpPr>
                <p:spPr>
                  <a:xfrm>
                    <a:off x="2050627" y="3412149"/>
                    <a:ext cx="1328766"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t>Il Sole 24 Ore</a:t>
                    </a:r>
                  </a:p>
                </p:txBody>
              </p:sp>
            </p:grpSp>
            <p:grpSp>
              <p:nvGrpSpPr>
                <p:cNvPr id="47" name="Group 46">
                  <a:extLst>
                    <a:ext uri="{FF2B5EF4-FFF2-40B4-BE49-F238E27FC236}">
                      <a16:creationId xmlns:a16="http://schemas.microsoft.com/office/drawing/2014/main" id="{911F353C-B527-E2D8-3251-B4D31B08477D}"/>
                    </a:ext>
                  </a:extLst>
                </p:cNvPr>
                <p:cNvGrpSpPr/>
                <p:nvPr/>
              </p:nvGrpSpPr>
              <p:grpSpPr>
                <a:xfrm>
                  <a:off x="1804560" y="2636653"/>
                  <a:ext cx="237525" cy="897650"/>
                  <a:chOff x="1804560" y="2636653"/>
                  <a:chExt cx="237525" cy="897650"/>
                </a:xfrm>
              </p:grpSpPr>
              <p:sp>
                <p:nvSpPr>
                  <p:cNvPr id="13" name="Oval 12">
                    <a:extLst>
                      <a:ext uri="{FF2B5EF4-FFF2-40B4-BE49-F238E27FC236}">
                        <a16:creationId xmlns:a16="http://schemas.microsoft.com/office/drawing/2014/main" id="{96273F99-60B0-0AEB-7437-6E2F2C0509BB}"/>
                      </a:ext>
                    </a:extLst>
                  </p:cNvPr>
                  <p:cNvSpPr/>
                  <p:nvPr/>
                </p:nvSpPr>
                <p:spPr>
                  <a:xfrm>
                    <a:off x="1804560" y="2636653"/>
                    <a:ext cx="45719" cy="457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a:extLst>
                      <a:ext uri="{FF2B5EF4-FFF2-40B4-BE49-F238E27FC236}">
                        <a16:creationId xmlns:a16="http://schemas.microsoft.com/office/drawing/2014/main" id="{B3706AB4-4F87-1141-1B8B-4BE128813DA7}"/>
                      </a:ext>
                    </a:extLst>
                  </p:cNvPr>
                  <p:cNvSpPr/>
                  <p:nvPr/>
                </p:nvSpPr>
                <p:spPr>
                  <a:xfrm>
                    <a:off x="1804560" y="2858606"/>
                    <a:ext cx="45719" cy="457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380CD258-F48F-FEAC-2251-32433ACA5408}"/>
                      </a:ext>
                    </a:extLst>
                  </p:cNvPr>
                  <p:cNvSpPr/>
                  <p:nvPr/>
                </p:nvSpPr>
                <p:spPr>
                  <a:xfrm>
                    <a:off x="2013285" y="3074487"/>
                    <a:ext cx="28800" cy="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T"/>
                  </a:p>
                </p:txBody>
              </p:sp>
              <p:sp>
                <p:nvSpPr>
                  <p:cNvPr id="29" name="Rectangle 28">
                    <a:extLst>
                      <a:ext uri="{FF2B5EF4-FFF2-40B4-BE49-F238E27FC236}">
                        <a16:creationId xmlns:a16="http://schemas.microsoft.com/office/drawing/2014/main" id="{269E6F55-C530-1CD0-1CBA-4912D3285AA7}"/>
                      </a:ext>
                    </a:extLst>
                  </p:cNvPr>
                  <p:cNvSpPr/>
                  <p:nvPr/>
                </p:nvSpPr>
                <p:spPr>
                  <a:xfrm>
                    <a:off x="2013285" y="3289995"/>
                    <a:ext cx="28800" cy="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T"/>
                  </a:p>
                </p:txBody>
              </p:sp>
              <p:sp>
                <p:nvSpPr>
                  <p:cNvPr id="30" name="Rectangle 29">
                    <a:extLst>
                      <a:ext uri="{FF2B5EF4-FFF2-40B4-BE49-F238E27FC236}">
                        <a16:creationId xmlns:a16="http://schemas.microsoft.com/office/drawing/2014/main" id="{C9B28ABB-12EF-053F-29EF-099C0C49172F}"/>
                      </a:ext>
                    </a:extLst>
                  </p:cNvPr>
                  <p:cNvSpPr/>
                  <p:nvPr/>
                </p:nvSpPr>
                <p:spPr>
                  <a:xfrm>
                    <a:off x="2013285" y="3505503"/>
                    <a:ext cx="28800" cy="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T"/>
                  </a:p>
                </p:txBody>
              </p:sp>
            </p:grpSp>
          </p:grpSp>
        </p:grpSp>
        <p:pic>
          <p:nvPicPr>
            <p:cNvPr id="16" name="Graphic 15" descr="Research with solid fill">
              <a:extLst>
                <a:ext uri="{FF2B5EF4-FFF2-40B4-BE49-F238E27FC236}">
                  <a16:creationId xmlns:a16="http://schemas.microsoft.com/office/drawing/2014/main" id="{DF3008BA-13B9-43A3-2422-BE9BBE84116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29180" y="3861915"/>
              <a:ext cx="914400" cy="914400"/>
            </a:xfrm>
            <a:prstGeom prst="rect">
              <a:avLst/>
            </a:prstGeom>
          </p:spPr>
        </p:pic>
      </p:grpSp>
      <p:grpSp>
        <p:nvGrpSpPr>
          <p:cNvPr id="96" name="Group 95">
            <a:extLst>
              <a:ext uri="{FF2B5EF4-FFF2-40B4-BE49-F238E27FC236}">
                <a16:creationId xmlns:a16="http://schemas.microsoft.com/office/drawing/2014/main" id="{9A49C326-6241-1A0E-4A1D-EE7C6E16BB9A}"/>
              </a:ext>
            </a:extLst>
          </p:cNvPr>
          <p:cNvGrpSpPr/>
          <p:nvPr/>
        </p:nvGrpSpPr>
        <p:grpSpPr>
          <a:xfrm>
            <a:off x="4911592" y="2336933"/>
            <a:ext cx="1735200" cy="2458379"/>
            <a:chOff x="4911592" y="2336933"/>
            <a:chExt cx="1735200" cy="2458379"/>
          </a:xfrm>
        </p:grpSpPr>
        <p:grpSp>
          <p:nvGrpSpPr>
            <p:cNvPr id="64" name="Group 63">
              <a:extLst>
                <a:ext uri="{FF2B5EF4-FFF2-40B4-BE49-F238E27FC236}">
                  <a16:creationId xmlns:a16="http://schemas.microsoft.com/office/drawing/2014/main" id="{21F3FB89-004D-256A-624E-A7F074450D1C}"/>
                </a:ext>
              </a:extLst>
            </p:cNvPr>
            <p:cNvGrpSpPr/>
            <p:nvPr/>
          </p:nvGrpSpPr>
          <p:grpSpPr>
            <a:xfrm>
              <a:off x="4911592" y="2336933"/>
              <a:ext cx="1735200" cy="1295730"/>
              <a:chOff x="5909165" y="2331927"/>
              <a:chExt cx="1735200" cy="1295730"/>
            </a:xfrm>
          </p:grpSpPr>
          <p:grpSp>
            <p:nvGrpSpPr>
              <p:cNvPr id="63" name="Group 62">
                <a:extLst>
                  <a:ext uri="{FF2B5EF4-FFF2-40B4-BE49-F238E27FC236}">
                    <a16:creationId xmlns:a16="http://schemas.microsoft.com/office/drawing/2014/main" id="{AE75D82A-3D12-77CB-8C4A-A1C2DF670190}"/>
                  </a:ext>
                </a:extLst>
              </p:cNvPr>
              <p:cNvGrpSpPr/>
              <p:nvPr/>
            </p:nvGrpSpPr>
            <p:grpSpPr>
              <a:xfrm>
                <a:off x="5909165" y="2331927"/>
                <a:ext cx="1735200" cy="1295730"/>
                <a:chOff x="5909165" y="2331927"/>
                <a:chExt cx="1735200" cy="1295730"/>
              </a:xfrm>
            </p:grpSpPr>
            <p:sp>
              <p:nvSpPr>
                <p:cNvPr id="48" name="Rectangle 47">
                  <a:extLst>
                    <a:ext uri="{FF2B5EF4-FFF2-40B4-BE49-F238E27FC236}">
                      <a16:creationId xmlns:a16="http://schemas.microsoft.com/office/drawing/2014/main" id="{D1556D96-F209-8AA0-DF44-65BE8D62EB37}"/>
                    </a:ext>
                  </a:extLst>
                </p:cNvPr>
                <p:cNvSpPr/>
                <p:nvPr/>
              </p:nvSpPr>
              <p:spPr>
                <a:xfrm>
                  <a:off x="6092391" y="3196675"/>
                  <a:ext cx="1524839"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t>Website</a:t>
                  </a:r>
                </a:p>
              </p:txBody>
            </p:sp>
            <p:sp>
              <p:nvSpPr>
                <p:cNvPr id="11" name="Rectangle 10">
                  <a:extLst>
                    <a:ext uri="{FF2B5EF4-FFF2-40B4-BE49-F238E27FC236}">
                      <a16:creationId xmlns:a16="http://schemas.microsoft.com/office/drawing/2014/main" id="{0E283B8D-11A3-4974-2EBF-690632DBA6CC}"/>
                    </a:ext>
                  </a:extLst>
                </p:cNvPr>
                <p:cNvSpPr/>
                <p:nvPr/>
              </p:nvSpPr>
              <p:spPr>
                <a:xfrm>
                  <a:off x="5909165" y="2331927"/>
                  <a:ext cx="1735200"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1600" b="1" dirty="0">
                      <a:solidFill>
                        <a:schemeClr val="accent4"/>
                      </a:solidFill>
                    </a:rPr>
                    <a:t>Content Sharing</a:t>
                  </a:r>
                </a:p>
              </p:txBody>
            </p:sp>
            <p:sp>
              <p:nvSpPr>
                <p:cNvPr id="40" name="Rectangle 39">
                  <a:extLst>
                    <a:ext uri="{FF2B5EF4-FFF2-40B4-BE49-F238E27FC236}">
                      <a16:creationId xmlns:a16="http://schemas.microsoft.com/office/drawing/2014/main" id="{F1FFD629-E85D-A910-5DE1-024163EB22B8}"/>
                    </a:ext>
                  </a:extLst>
                </p:cNvPr>
                <p:cNvSpPr/>
                <p:nvPr/>
              </p:nvSpPr>
              <p:spPr>
                <a:xfrm>
                  <a:off x="6119526" y="2547435"/>
                  <a:ext cx="1524839"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t>Social Media</a:t>
                  </a:r>
                </a:p>
              </p:txBody>
            </p:sp>
            <p:sp>
              <p:nvSpPr>
                <p:cNvPr id="42" name="Rectangle 41">
                  <a:extLst>
                    <a:ext uri="{FF2B5EF4-FFF2-40B4-BE49-F238E27FC236}">
                      <a16:creationId xmlns:a16="http://schemas.microsoft.com/office/drawing/2014/main" id="{98BF5EAB-6750-E6AA-7AAC-F898A1618002}"/>
                    </a:ext>
                  </a:extLst>
                </p:cNvPr>
                <p:cNvSpPr/>
                <p:nvPr/>
              </p:nvSpPr>
              <p:spPr>
                <a:xfrm>
                  <a:off x="6315600" y="2764352"/>
                  <a:ext cx="1328765"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t>Instagram</a:t>
                  </a:r>
                </a:p>
              </p:txBody>
            </p:sp>
            <p:sp>
              <p:nvSpPr>
                <p:cNvPr id="43" name="Rectangle 42">
                  <a:extLst>
                    <a:ext uri="{FF2B5EF4-FFF2-40B4-BE49-F238E27FC236}">
                      <a16:creationId xmlns:a16="http://schemas.microsoft.com/office/drawing/2014/main" id="{28794CAE-86C7-2EE6-D790-948F06A66C56}"/>
                    </a:ext>
                  </a:extLst>
                </p:cNvPr>
                <p:cNvSpPr/>
                <p:nvPr/>
              </p:nvSpPr>
              <p:spPr>
                <a:xfrm>
                  <a:off x="6315599" y="2979860"/>
                  <a:ext cx="1328766"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t>LinkedIn</a:t>
                  </a:r>
                </a:p>
              </p:txBody>
            </p:sp>
            <p:sp>
              <p:nvSpPr>
                <p:cNvPr id="50" name="Rectangle 49">
                  <a:extLst>
                    <a:ext uri="{FF2B5EF4-FFF2-40B4-BE49-F238E27FC236}">
                      <a16:creationId xmlns:a16="http://schemas.microsoft.com/office/drawing/2014/main" id="{129A65D1-B012-662E-8851-2B6DBC230C48}"/>
                    </a:ext>
                  </a:extLst>
                </p:cNvPr>
                <p:cNvSpPr/>
                <p:nvPr/>
              </p:nvSpPr>
              <p:spPr>
                <a:xfrm>
                  <a:off x="6278257" y="3412149"/>
                  <a:ext cx="1328765"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t>WIX Builder</a:t>
                  </a:r>
                </a:p>
              </p:txBody>
            </p:sp>
          </p:grpSp>
          <p:grpSp>
            <p:nvGrpSpPr>
              <p:cNvPr id="60" name="Group 59">
                <a:extLst>
                  <a:ext uri="{FF2B5EF4-FFF2-40B4-BE49-F238E27FC236}">
                    <a16:creationId xmlns:a16="http://schemas.microsoft.com/office/drawing/2014/main" id="{B5AE9135-52A3-22BA-402F-800736222B4B}"/>
                  </a:ext>
                </a:extLst>
              </p:cNvPr>
              <p:cNvGrpSpPr/>
              <p:nvPr/>
            </p:nvGrpSpPr>
            <p:grpSpPr>
              <a:xfrm>
                <a:off x="6069532" y="2641825"/>
                <a:ext cx="237525" cy="892478"/>
                <a:chOff x="6069532" y="2641825"/>
                <a:chExt cx="237525" cy="892478"/>
              </a:xfrm>
            </p:grpSpPr>
            <p:sp>
              <p:nvSpPr>
                <p:cNvPr id="41" name="Oval 40">
                  <a:extLst>
                    <a:ext uri="{FF2B5EF4-FFF2-40B4-BE49-F238E27FC236}">
                      <a16:creationId xmlns:a16="http://schemas.microsoft.com/office/drawing/2014/main" id="{F51BC8A7-A324-7168-D9A6-04F39A946BD0}"/>
                    </a:ext>
                  </a:extLst>
                </p:cNvPr>
                <p:cNvSpPr/>
                <p:nvPr/>
              </p:nvSpPr>
              <p:spPr>
                <a:xfrm>
                  <a:off x="6069532" y="2641825"/>
                  <a:ext cx="45719" cy="457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44">
                  <a:extLst>
                    <a:ext uri="{FF2B5EF4-FFF2-40B4-BE49-F238E27FC236}">
                      <a16:creationId xmlns:a16="http://schemas.microsoft.com/office/drawing/2014/main" id="{C4F03FE5-D083-C728-C532-3B3CBF27A88B}"/>
                    </a:ext>
                  </a:extLst>
                </p:cNvPr>
                <p:cNvSpPr/>
                <p:nvPr/>
              </p:nvSpPr>
              <p:spPr>
                <a:xfrm>
                  <a:off x="6278257" y="2857706"/>
                  <a:ext cx="28800" cy="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T"/>
                </a:p>
              </p:txBody>
            </p:sp>
            <p:sp>
              <p:nvSpPr>
                <p:cNvPr id="46" name="Rectangle 45">
                  <a:extLst>
                    <a:ext uri="{FF2B5EF4-FFF2-40B4-BE49-F238E27FC236}">
                      <a16:creationId xmlns:a16="http://schemas.microsoft.com/office/drawing/2014/main" id="{5709E042-AA7A-9978-2978-D16B10FA9722}"/>
                    </a:ext>
                  </a:extLst>
                </p:cNvPr>
                <p:cNvSpPr/>
                <p:nvPr/>
              </p:nvSpPr>
              <p:spPr>
                <a:xfrm>
                  <a:off x="6278257" y="3073214"/>
                  <a:ext cx="28800" cy="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T"/>
                </a:p>
              </p:txBody>
            </p:sp>
            <p:sp>
              <p:nvSpPr>
                <p:cNvPr id="49" name="Oval 48">
                  <a:extLst>
                    <a:ext uri="{FF2B5EF4-FFF2-40B4-BE49-F238E27FC236}">
                      <a16:creationId xmlns:a16="http://schemas.microsoft.com/office/drawing/2014/main" id="{6B97BB53-FA53-C4EA-D838-781BF2543BE4}"/>
                    </a:ext>
                  </a:extLst>
                </p:cNvPr>
                <p:cNvSpPr/>
                <p:nvPr/>
              </p:nvSpPr>
              <p:spPr>
                <a:xfrm>
                  <a:off x="6074758" y="3288722"/>
                  <a:ext cx="45719" cy="457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ectangle 50">
                  <a:extLst>
                    <a:ext uri="{FF2B5EF4-FFF2-40B4-BE49-F238E27FC236}">
                      <a16:creationId xmlns:a16="http://schemas.microsoft.com/office/drawing/2014/main" id="{0DCDD21A-97E5-1C34-9E1A-BE1BF0397A44}"/>
                    </a:ext>
                  </a:extLst>
                </p:cNvPr>
                <p:cNvSpPr/>
                <p:nvPr/>
              </p:nvSpPr>
              <p:spPr>
                <a:xfrm>
                  <a:off x="6240914" y="3505503"/>
                  <a:ext cx="28800" cy="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T"/>
                </a:p>
              </p:txBody>
            </p:sp>
          </p:grpSp>
        </p:grpSp>
        <p:pic>
          <p:nvPicPr>
            <p:cNvPr id="23" name="Graphic 22" descr="Bar graph with upward trend with solid fill">
              <a:extLst>
                <a:ext uri="{FF2B5EF4-FFF2-40B4-BE49-F238E27FC236}">
                  <a16:creationId xmlns:a16="http://schemas.microsoft.com/office/drawing/2014/main" id="{765D78B2-B568-F7A6-2626-A81F5B3BF66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29870" y="3909715"/>
              <a:ext cx="885595" cy="885597"/>
            </a:xfrm>
            <a:prstGeom prst="rect">
              <a:avLst/>
            </a:prstGeom>
          </p:spPr>
        </p:pic>
      </p:grpSp>
      <p:grpSp>
        <p:nvGrpSpPr>
          <p:cNvPr id="95" name="Group 94">
            <a:extLst>
              <a:ext uri="{FF2B5EF4-FFF2-40B4-BE49-F238E27FC236}">
                <a16:creationId xmlns:a16="http://schemas.microsoft.com/office/drawing/2014/main" id="{9BDBA6CB-4FF9-0450-4D25-AA6E817D6E9B}"/>
              </a:ext>
            </a:extLst>
          </p:cNvPr>
          <p:cNvGrpSpPr/>
          <p:nvPr/>
        </p:nvGrpSpPr>
        <p:grpSpPr>
          <a:xfrm>
            <a:off x="2667051" y="2325857"/>
            <a:ext cx="1740600" cy="2467759"/>
            <a:chOff x="2667051" y="2325857"/>
            <a:chExt cx="1740600" cy="2467759"/>
          </a:xfrm>
        </p:grpSpPr>
        <p:grpSp>
          <p:nvGrpSpPr>
            <p:cNvPr id="59" name="Group 58">
              <a:extLst>
                <a:ext uri="{FF2B5EF4-FFF2-40B4-BE49-F238E27FC236}">
                  <a16:creationId xmlns:a16="http://schemas.microsoft.com/office/drawing/2014/main" id="{1D400C96-04FF-AEF0-61A1-3885765FF28B}"/>
                </a:ext>
              </a:extLst>
            </p:cNvPr>
            <p:cNvGrpSpPr/>
            <p:nvPr/>
          </p:nvGrpSpPr>
          <p:grpSpPr>
            <a:xfrm>
              <a:off x="2667051" y="2325857"/>
              <a:ext cx="1740600" cy="1282421"/>
              <a:chOff x="3670947" y="2332355"/>
              <a:chExt cx="1740600" cy="1282421"/>
            </a:xfrm>
          </p:grpSpPr>
          <p:grpSp>
            <p:nvGrpSpPr>
              <p:cNvPr id="58" name="Group 57">
                <a:extLst>
                  <a:ext uri="{FF2B5EF4-FFF2-40B4-BE49-F238E27FC236}">
                    <a16:creationId xmlns:a16="http://schemas.microsoft.com/office/drawing/2014/main" id="{9A12782E-AC01-30A9-456E-EED189ABA1A1}"/>
                  </a:ext>
                </a:extLst>
              </p:cNvPr>
              <p:cNvGrpSpPr/>
              <p:nvPr/>
            </p:nvGrpSpPr>
            <p:grpSpPr>
              <a:xfrm>
                <a:off x="3831314" y="2643526"/>
                <a:ext cx="237525" cy="905177"/>
                <a:chOff x="3864767" y="2643526"/>
                <a:chExt cx="237525" cy="905177"/>
              </a:xfrm>
            </p:grpSpPr>
            <p:sp>
              <p:nvSpPr>
                <p:cNvPr id="33" name="Oval 32">
                  <a:extLst>
                    <a:ext uri="{FF2B5EF4-FFF2-40B4-BE49-F238E27FC236}">
                      <a16:creationId xmlns:a16="http://schemas.microsoft.com/office/drawing/2014/main" id="{13057015-57FA-34DC-AFBE-B0925B4053B1}"/>
                    </a:ext>
                  </a:extLst>
                </p:cNvPr>
                <p:cNvSpPr/>
                <p:nvPr/>
              </p:nvSpPr>
              <p:spPr>
                <a:xfrm>
                  <a:off x="3864767" y="2643526"/>
                  <a:ext cx="45719" cy="457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D022CBE1-18B9-DECB-154A-ED079F73D174}"/>
                    </a:ext>
                  </a:extLst>
                </p:cNvPr>
                <p:cNvSpPr/>
                <p:nvPr/>
              </p:nvSpPr>
              <p:spPr>
                <a:xfrm>
                  <a:off x="4073492" y="2859407"/>
                  <a:ext cx="28800" cy="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T"/>
                </a:p>
              </p:txBody>
            </p:sp>
            <p:sp>
              <p:nvSpPr>
                <p:cNvPr id="38" name="Rectangle 37">
                  <a:extLst>
                    <a:ext uri="{FF2B5EF4-FFF2-40B4-BE49-F238E27FC236}">
                      <a16:creationId xmlns:a16="http://schemas.microsoft.com/office/drawing/2014/main" id="{A0DE2245-2DAB-43CA-6655-90DC528A6B62}"/>
                    </a:ext>
                  </a:extLst>
                </p:cNvPr>
                <p:cNvSpPr/>
                <p:nvPr/>
              </p:nvSpPr>
              <p:spPr>
                <a:xfrm>
                  <a:off x="4073492" y="3074915"/>
                  <a:ext cx="28800" cy="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T"/>
                </a:p>
              </p:txBody>
            </p:sp>
            <p:sp>
              <p:nvSpPr>
                <p:cNvPr id="39" name="Rectangle 38">
                  <a:extLst>
                    <a:ext uri="{FF2B5EF4-FFF2-40B4-BE49-F238E27FC236}">
                      <a16:creationId xmlns:a16="http://schemas.microsoft.com/office/drawing/2014/main" id="{195D051A-DF3D-68E1-2D16-8E686CCAE742}"/>
                    </a:ext>
                  </a:extLst>
                </p:cNvPr>
                <p:cNvSpPr/>
                <p:nvPr/>
              </p:nvSpPr>
              <p:spPr>
                <a:xfrm>
                  <a:off x="4073492" y="3290423"/>
                  <a:ext cx="28800" cy="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T" dirty="0"/>
                </a:p>
              </p:txBody>
            </p:sp>
            <p:sp>
              <p:nvSpPr>
                <p:cNvPr id="7" name="Rectangle 6">
                  <a:extLst>
                    <a:ext uri="{FF2B5EF4-FFF2-40B4-BE49-F238E27FC236}">
                      <a16:creationId xmlns:a16="http://schemas.microsoft.com/office/drawing/2014/main" id="{E5567241-9DD1-2080-2282-7968130030E4}"/>
                    </a:ext>
                  </a:extLst>
                </p:cNvPr>
                <p:cNvSpPr/>
                <p:nvPr/>
              </p:nvSpPr>
              <p:spPr>
                <a:xfrm>
                  <a:off x="4073492" y="3519903"/>
                  <a:ext cx="28800" cy="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T" dirty="0"/>
                </a:p>
              </p:txBody>
            </p:sp>
          </p:grpSp>
          <p:grpSp>
            <p:nvGrpSpPr>
              <p:cNvPr id="57" name="Group 56">
                <a:extLst>
                  <a:ext uri="{FF2B5EF4-FFF2-40B4-BE49-F238E27FC236}">
                    <a16:creationId xmlns:a16="http://schemas.microsoft.com/office/drawing/2014/main" id="{50FAD77C-E450-28AF-8821-4B9B45AB2F63}"/>
                  </a:ext>
                </a:extLst>
              </p:cNvPr>
              <p:cNvGrpSpPr/>
              <p:nvPr/>
            </p:nvGrpSpPr>
            <p:grpSpPr>
              <a:xfrm>
                <a:off x="3670947" y="2332355"/>
                <a:ext cx="1740600" cy="1282421"/>
                <a:chOff x="3704400" y="2332355"/>
                <a:chExt cx="1740600" cy="1282421"/>
              </a:xfrm>
            </p:grpSpPr>
            <p:sp>
              <p:nvSpPr>
                <p:cNvPr id="10" name="Rectangle 9">
                  <a:extLst>
                    <a:ext uri="{FF2B5EF4-FFF2-40B4-BE49-F238E27FC236}">
                      <a16:creationId xmlns:a16="http://schemas.microsoft.com/office/drawing/2014/main" id="{71CAA9E2-EC3E-D1BD-72F4-F3CC3E605364}"/>
                    </a:ext>
                  </a:extLst>
                </p:cNvPr>
                <p:cNvSpPr/>
                <p:nvPr/>
              </p:nvSpPr>
              <p:spPr>
                <a:xfrm>
                  <a:off x="3704400" y="2332355"/>
                  <a:ext cx="1735200"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1600" b="1" dirty="0">
                      <a:solidFill>
                        <a:schemeClr val="accent4"/>
                      </a:solidFill>
                    </a:rPr>
                    <a:t>Content Creation</a:t>
                  </a:r>
                  <a:endParaRPr lang="en-US" sz="1600" dirty="0"/>
                </a:p>
              </p:txBody>
            </p:sp>
            <p:sp>
              <p:nvSpPr>
                <p:cNvPr id="32" name="Rectangle 31">
                  <a:extLst>
                    <a:ext uri="{FF2B5EF4-FFF2-40B4-BE49-F238E27FC236}">
                      <a16:creationId xmlns:a16="http://schemas.microsoft.com/office/drawing/2014/main" id="{BE2A889A-A078-855C-EEEE-5D90BEF57DC4}"/>
                    </a:ext>
                  </a:extLst>
                </p:cNvPr>
                <p:cNvSpPr/>
                <p:nvPr/>
              </p:nvSpPr>
              <p:spPr>
                <a:xfrm>
                  <a:off x="3914761" y="2549136"/>
                  <a:ext cx="1524839"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dirty="0"/>
                    <a:t>Relevant Fintech Topics</a:t>
                  </a:r>
                </a:p>
              </p:txBody>
            </p:sp>
            <p:sp>
              <p:nvSpPr>
                <p:cNvPr id="34" name="Rectangle 33">
                  <a:extLst>
                    <a:ext uri="{FF2B5EF4-FFF2-40B4-BE49-F238E27FC236}">
                      <a16:creationId xmlns:a16="http://schemas.microsoft.com/office/drawing/2014/main" id="{EAB85104-423D-07A4-BA04-E451CF0C9796}"/>
                    </a:ext>
                  </a:extLst>
                </p:cNvPr>
                <p:cNvSpPr/>
                <p:nvPr/>
              </p:nvSpPr>
              <p:spPr>
                <a:xfrm>
                  <a:off x="4110835" y="2766053"/>
                  <a:ext cx="1328765"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t>Reports &amp; Projects</a:t>
                  </a:r>
                </a:p>
              </p:txBody>
            </p:sp>
            <p:sp>
              <p:nvSpPr>
                <p:cNvPr id="35" name="Rectangle 34">
                  <a:extLst>
                    <a:ext uri="{FF2B5EF4-FFF2-40B4-BE49-F238E27FC236}">
                      <a16:creationId xmlns:a16="http://schemas.microsoft.com/office/drawing/2014/main" id="{6C298EF1-6313-05B2-205C-F00D7E22F972}"/>
                    </a:ext>
                  </a:extLst>
                </p:cNvPr>
                <p:cNvSpPr/>
                <p:nvPr/>
              </p:nvSpPr>
              <p:spPr>
                <a:xfrm>
                  <a:off x="4110834" y="2981561"/>
                  <a:ext cx="1328766"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t>Events</a:t>
                  </a:r>
                </a:p>
              </p:txBody>
            </p:sp>
            <p:sp>
              <p:nvSpPr>
                <p:cNvPr id="36" name="Rectangle 35">
                  <a:extLst>
                    <a:ext uri="{FF2B5EF4-FFF2-40B4-BE49-F238E27FC236}">
                      <a16:creationId xmlns:a16="http://schemas.microsoft.com/office/drawing/2014/main" id="{BDD2CAD6-54D3-E89E-C7CB-19703567E8EA}"/>
                    </a:ext>
                  </a:extLst>
                </p:cNvPr>
                <p:cNvSpPr/>
                <p:nvPr/>
              </p:nvSpPr>
              <p:spPr>
                <a:xfrm>
                  <a:off x="4110834" y="3197069"/>
                  <a:ext cx="1328766"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t>Fintech news</a:t>
                  </a:r>
                </a:p>
              </p:txBody>
            </p:sp>
            <p:sp>
              <p:nvSpPr>
                <p:cNvPr id="8" name="Rectangle 7">
                  <a:extLst>
                    <a:ext uri="{FF2B5EF4-FFF2-40B4-BE49-F238E27FC236}">
                      <a16:creationId xmlns:a16="http://schemas.microsoft.com/office/drawing/2014/main" id="{88208969-F2B8-5EF9-05DC-372033B02B76}"/>
                    </a:ext>
                  </a:extLst>
                </p:cNvPr>
                <p:cNvSpPr/>
                <p:nvPr/>
              </p:nvSpPr>
              <p:spPr>
                <a:xfrm>
                  <a:off x="4116234" y="3399268"/>
                  <a:ext cx="1328766"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t>Educational content</a:t>
                  </a:r>
                </a:p>
              </p:txBody>
            </p:sp>
          </p:grpSp>
        </p:grpSp>
        <p:pic>
          <p:nvPicPr>
            <p:cNvPr id="31" name="Graphic 30" descr="Blog with solid fill">
              <a:extLst>
                <a:ext uri="{FF2B5EF4-FFF2-40B4-BE49-F238E27FC236}">
                  <a16:creationId xmlns:a16="http://schemas.microsoft.com/office/drawing/2014/main" id="{9151DAB7-D3D9-F734-3B21-59D72EA63EC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029525" y="3879216"/>
              <a:ext cx="914400" cy="914400"/>
            </a:xfrm>
            <a:prstGeom prst="rect">
              <a:avLst/>
            </a:prstGeom>
          </p:spPr>
        </p:pic>
      </p:grpSp>
      <p:pic>
        <p:nvPicPr>
          <p:cNvPr id="5122" name="Picture 2" descr="Instagram — Wikipédia">
            <a:extLst>
              <a:ext uri="{FF2B5EF4-FFF2-40B4-BE49-F238E27FC236}">
                <a16:creationId xmlns:a16="http://schemas.microsoft.com/office/drawing/2014/main" id="{2850590B-5E9B-2D3E-BC8C-28EA6E2581B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02740" y="5030369"/>
            <a:ext cx="425450" cy="42545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LinkedIn - Free download and install on Windows | Microsoft Store">
            <a:extLst>
              <a:ext uri="{FF2B5EF4-FFF2-40B4-BE49-F238E27FC236}">
                <a16:creationId xmlns:a16="http://schemas.microsoft.com/office/drawing/2014/main" id="{965EE4F3-8681-CDB3-E0F9-3D759DC83E2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58007" y="5016055"/>
            <a:ext cx="425450" cy="425450"/>
          </a:xfrm>
          <a:prstGeom prst="rect">
            <a:avLst/>
          </a:prstGeom>
          <a:noFill/>
          <a:extLst>
            <a:ext uri="{909E8E84-426E-40DD-AFC4-6F175D3DCCD1}">
              <a14:hiddenFill xmlns:a14="http://schemas.microsoft.com/office/drawing/2010/main">
                <a:solidFill>
                  <a:srgbClr val="FFFFFF"/>
                </a:solidFill>
              </a14:hiddenFill>
            </a:ext>
          </a:extLst>
        </p:spPr>
      </p:pic>
      <p:sp>
        <p:nvSpPr>
          <p:cNvPr id="99" name="TextBox 98">
            <a:extLst>
              <a:ext uri="{FF2B5EF4-FFF2-40B4-BE49-F238E27FC236}">
                <a16:creationId xmlns:a16="http://schemas.microsoft.com/office/drawing/2014/main" id="{DAFAD6C4-DAB7-33D4-85D7-4D5CCE362BC4}"/>
              </a:ext>
            </a:extLst>
          </p:cNvPr>
          <p:cNvSpPr txBox="1"/>
          <p:nvPr/>
        </p:nvSpPr>
        <p:spPr>
          <a:xfrm>
            <a:off x="6236777" y="5097975"/>
            <a:ext cx="2176867" cy="261610"/>
          </a:xfrm>
          <a:prstGeom prst="rect">
            <a:avLst/>
          </a:prstGeom>
          <a:noFill/>
        </p:spPr>
        <p:txBody>
          <a:bodyPr wrap="square" rtlCol="0">
            <a:spAutoFit/>
          </a:bodyPr>
          <a:lstStyle/>
          <a:p>
            <a:r>
              <a:rPr lang="en-IT" sz="1100" b="1" dirty="0"/>
              <a:t>@bocconistudentsfintechsociety</a:t>
            </a:r>
          </a:p>
        </p:txBody>
      </p:sp>
      <p:sp>
        <p:nvSpPr>
          <p:cNvPr id="100" name="TextBox 99">
            <a:extLst>
              <a:ext uri="{FF2B5EF4-FFF2-40B4-BE49-F238E27FC236}">
                <a16:creationId xmlns:a16="http://schemas.microsoft.com/office/drawing/2014/main" id="{219016F5-C72B-1143-3100-C0BF1BBD6878}"/>
              </a:ext>
            </a:extLst>
          </p:cNvPr>
          <p:cNvSpPr txBox="1"/>
          <p:nvPr/>
        </p:nvSpPr>
        <p:spPr>
          <a:xfrm>
            <a:off x="2446758" y="5089656"/>
            <a:ext cx="2258961" cy="261610"/>
          </a:xfrm>
          <a:prstGeom prst="rect">
            <a:avLst/>
          </a:prstGeom>
          <a:noFill/>
        </p:spPr>
        <p:txBody>
          <a:bodyPr wrap="square" rtlCol="0">
            <a:spAutoFit/>
          </a:bodyPr>
          <a:lstStyle/>
          <a:p>
            <a:pPr algn="l" fontAlgn="auto"/>
            <a:r>
              <a:rPr lang="en-GB" sz="1100" b="1" i="0" u="none" strike="noStrike" dirty="0">
                <a:effectLst/>
                <a:latin typeface="-apple-system"/>
              </a:rPr>
              <a:t>Bocconi Students Fintech Society</a:t>
            </a:r>
          </a:p>
        </p:txBody>
      </p:sp>
      <p:grpSp>
        <p:nvGrpSpPr>
          <p:cNvPr id="104" name="Group 103">
            <a:extLst>
              <a:ext uri="{FF2B5EF4-FFF2-40B4-BE49-F238E27FC236}">
                <a16:creationId xmlns:a16="http://schemas.microsoft.com/office/drawing/2014/main" id="{A5C8A721-407C-BE14-9610-7C57306632E3}"/>
              </a:ext>
            </a:extLst>
          </p:cNvPr>
          <p:cNvGrpSpPr/>
          <p:nvPr/>
        </p:nvGrpSpPr>
        <p:grpSpPr>
          <a:xfrm>
            <a:off x="6757580" y="2150941"/>
            <a:ext cx="1524839" cy="2576060"/>
            <a:chOff x="6655334" y="1712663"/>
            <a:chExt cx="1870219" cy="3184207"/>
          </a:xfrm>
        </p:grpSpPr>
        <p:pic>
          <p:nvPicPr>
            <p:cNvPr id="102" name="Picture 101" descr="A screenshot of a phone&#10;&#10;Description automatically generated">
              <a:extLst>
                <a:ext uri="{FF2B5EF4-FFF2-40B4-BE49-F238E27FC236}">
                  <a16:creationId xmlns:a16="http://schemas.microsoft.com/office/drawing/2014/main" id="{CDF19267-F38C-3A11-764D-6F913F95E459}"/>
                </a:ext>
              </a:extLst>
            </p:cNvPr>
            <p:cNvPicPr>
              <a:picLocks noChangeAspect="1"/>
            </p:cNvPicPr>
            <p:nvPr/>
          </p:nvPicPr>
          <p:blipFill rotWithShape="1">
            <a:blip r:embed="rId10">
              <a:extLst>
                <a:ext uri="{28A0092B-C50C-407E-A947-70E740481C1C}">
                  <a14:useLocalDpi xmlns:a14="http://schemas.microsoft.com/office/drawing/2010/main" val="0"/>
                </a:ext>
              </a:extLst>
            </a:blip>
            <a:srcRect t="44166" r="144" b="10894"/>
            <a:stretch/>
          </p:blipFill>
          <p:spPr>
            <a:xfrm>
              <a:off x="6658234" y="3078220"/>
              <a:ext cx="1867319" cy="1818650"/>
            </a:xfrm>
            <a:prstGeom prst="rect">
              <a:avLst/>
            </a:prstGeom>
          </p:spPr>
        </p:pic>
        <p:pic>
          <p:nvPicPr>
            <p:cNvPr id="103" name="Picture 102" descr="A screenshot of a phone&#10;&#10;Description automatically generated">
              <a:extLst>
                <a:ext uri="{FF2B5EF4-FFF2-40B4-BE49-F238E27FC236}">
                  <a16:creationId xmlns:a16="http://schemas.microsoft.com/office/drawing/2014/main" id="{53821E57-3562-1E5D-4ABF-C47CCFF1BFFF}"/>
                </a:ext>
              </a:extLst>
            </p:cNvPr>
            <p:cNvPicPr>
              <a:picLocks noChangeAspect="1"/>
            </p:cNvPicPr>
            <p:nvPr/>
          </p:nvPicPr>
          <p:blipFill rotWithShape="1">
            <a:blip r:embed="rId10">
              <a:extLst>
                <a:ext uri="{28A0092B-C50C-407E-A947-70E740481C1C}">
                  <a14:useLocalDpi xmlns:a14="http://schemas.microsoft.com/office/drawing/2010/main" val="0"/>
                </a:ext>
              </a:extLst>
            </a:blip>
            <a:srcRect t="5756" b="59792"/>
            <a:stretch/>
          </p:blipFill>
          <p:spPr>
            <a:xfrm>
              <a:off x="6655334" y="1712663"/>
              <a:ext cx="1870219" cy="1394357"/>
            </a:xfrm>
            <a:prstGeom prst="rect">
              <a:avLst/>
            </a:prstGeom>
          </p:spPr>
        </p:pic>
      </p:grpSp>
      <p:sp>
        <p:nvSpPr>
          <p:cNvPr id="6" name="Date Placeholder 3">
            <a:extLst>
              <a:ext uri="{FF2B5EF4-FFF2-40B4-BE49-F238E27FC236}">
                <a16:creationId xmlns:a16="http://schemas.microsoft.com/office/drawing/2014/main" id="{031FBD31-EF0B-6B32-F9AC-AA7BFAB00131}"/>
              </a:ext>
            </a:extLst>
          </p:cNvPr>
          <p:cNvSpPr txBox="1">
            <a:spLocks/>
          </p:cNvSpPr>
          <p:nvPr/>
        </p:nvSpPr>
        <p:spPr>
          <a:xfrm>
            <a:off x="357680" y="6356351"/>
            <a:ext cx="20574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Arial" panose="020B0604020202020204" pitchFamily="34" charset="0"/>
                <a:cs typeface="Arial" panose="020B0604020202020204" pitchFamily="34" charset="0"/>
              </a:rPr>
              <a:t>November 20, 2024</a:t>
            </a:r>
          </a:p>
        </p:txBody>
      </p:sp>
    </p:spTree>
    <p:extLst>
      <p:ext uri="{BB962C8B-B14F-4D97-AF65-F5344CB8AC3E}">
        <p14:creationId xmlns:p14="http://schemas.microsoft.com/office/powerpoint/2010/main" val="15287485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36DBD-FB9C-242E-3602-CD7CDE4FE0A7}"/>
              </a:ext>
            </a:extLst>
          </p:cNvPr>
          <p:cNvSpPr>
            <a:spLocks noGrp="1"/>
          </p:cNvSpPr>
          <p:nvPr>
            <p:ph type="title"/>
          </p:nvPr>
        </p:nvSpPr>
        <p:spPr/>
        <p:txBody>
          <a:bodyPr/>
          <a:lstStyle/>
          <a:p>
            <a:r>
              <a:rPr lang="en-GB"/>
              <a:t>About Operations</a:t>
            </a:r>
          </a:p>
        </p:txBody>
      </p:sp>
      <p:sp>
        <p:nvSpPr>
          <p:cNvPr id="3" name="Content Placeholder 2">
            <a:extLst>
              <a:ext uri="{FF2B5EF4-FFF2-40B4-BE49-F238E27FC236}">
                <a16:creationId xmlns:a16="http://schemas.microsoft.com/office/drawing/2014/main" id="{3B6506B1-FD16-6D5D-864A-77A36C727DAF}"/>
              </a:ext>
            </a:extLst>
          </p:cNvPr>
          <p:cNvSpPr>
            <a:spLocks noGrp="1"/>
          </p:cNvSpPr>
          <p:nvPr>
            <p:ph idx="1"/>
          </p:nvPr>
        </p:nvSpPr>
        <p:spPr>
          <a:xfrm>
            <a:off x="356695" y="1412834"/>
            <a:ext cx="8429625" cy="425450"/>
          </a:xfrm>
          <a:ln>
            <a:noFill/>
          </a:ln>
        </p:spPr>
        <p:txBody>
          <a:bodyPr>
            <a:normAutofit/>
          </a:bodyPr>
          <a:lstStyle/>
          <a:p>
            <a:r>
              <a:rPr lang="en-GB" sz="1500" dirty="0"/>
              <a:t>Following, how Operations is organised:</a:t>
            </a:r>
          </a:p>
        </p:txBody>
      </p:sp>
      <p:sp>
        <p:nvSpPr>
          <p:cNvPr id="5" name="Slide Number Placeholder 4">
            <a:extLst>
              <a:ext uri="{FF2B5EF4-FFF2-40B4-BE49-F238E27FC236}">
                <a16:creationId xmlns:a16="http://schemas.microsoft.com/office/drawing/2014/main" id="{09A507F6-3159-106E-2425-D59BD0654773}"/>
              </a:ext>
            </a:extLst>
          </p:cNvPr>
          <p:cNvSpPr>
            <a:spLocks noGrp="1"/>
          </p:cNvSpPr>
          <p:nvPr>
            <p:ph type="sldNum" sz="quarter" idx="12"/>
          </p:nvPr>
        </p:nvSpPr>
        <p:spPr/>
        <p:txBody>
          <a:bodyPr/>
          <a:lstStyle/>
          <a:p>
            <a:fld id="{330EA680-D336-4FF7-8B7A-9848BB0A1C32}" type="slidenum">
              <a:rPr lang="en-US" smtClean="0"/>
              <a:pPr/>
              <a:t>12</a:t>
            </a:fld>
            <a:endParaRPr lang="en-US"/>
          </a:p>
        </p:txBody>
      </p:sp>
      <p:sp>
        <p:nvSpPr>
          <p:cNvPr id="6" name="Text Placeholder 5">
            <a:extLst>
              <a:ext uri="{FF2B5EF4-FFF2-40B4-BE49-F238E27FC236}">
                <a16:creationId xmlns:a16="http://schemas.microsoft.com/office/drawing/2014/main" id="{1007EB6A-2D9A-F74F-6833-D4960EED02DB}"/>
              </a:ext>
            </a:extLst>
          </p:cNvPr>
          <p:cNvSpPr>
            <a:spLocks noGrp="1"/>
          </p:cNvSpPr>
          <p:nvPr>
            <p:ph type="body" sz="quarter" idx="13"/>
          </p:nvPr>
        </p:nvSpPr>
        <p:spPr/>
        <p:txBody>
          <a:bodyPr/>
          <a:lstStyle/>
          <a:p>
            <a:endParaRPr lang="en-GB" i="1">
              <a:solidFill>
                <a:schemeClr val="tx2"/>
              </a:solidFill>
            </a:endParaRPr>
          </a:p>
        </p:txBody>
      </p:sp>
      <p:cxnSp>
        <p:nvCxnSpPr>
          <p:cNvPr id="61" name="Connettore 1 26">
            <a:extLst>
              <a:ext uri="{FF2B5EF4-FFF2-40B4-BE49-F238E27FC236}">
                <a16:creationId xmlns:a16="http://schemas.microsoft.com/office/drawing/2014/main" id="{8F2020A8-E212-AB33-5F30-602D982A92FA}"/>
              </a:ext>
            </a:extLst>
          </p:cNvPr>
          <p:cNvCxnSpPr>
            <a:cxnSpLocks/>
          </p:cNvCxnSpPr>
          <p:nvPr/>
        </p:nvCxnSpPr>
        <p:spPr>
          <a:xfrm>
            <a:off x="5997767" y="1781574"/>
            <a:ext cx="0" cy="3101416"/>
          </a:xfrm>
          <a:prstGeom prst="line">
            <a:avLst/>
          </a:prstGeom>
          <a:ln cmpd="sng">
            <a:solidFill>
              <a:schemeClr val="tx1"/>
            </a:solidFill>
            <a:prstDash val="sysDot"/>
          </a:ln>
        </p:spPr>
        <p:style>
          <a:lnRef idx="1">
            <a:schemeClr val="dk1"/>
          </a:lnRef>
          <a:fillRef idx="0">
            <a:schemeClr val="dk1"/>
          </a:fillRef>
          <a:effectRef idx="0">
            <a:schemeClr val="dk1"/>
          </a:effectRef>
          <a:fontRef idx="minor">
            <a:schemeClr val="tx1"/>
          </a:fontRef>
        </p:style>
      </p:cxnSp>
      <p:cxnSp>
        <p:nvCxnSpPr>
          <p:cNvPr id="62" name="Connettore 1 27">
            <a:extLst>
              <a:ext uri="{FF2B5EF4-FFF2-40B4-BE49-F238E27FC236}">
                <a16:creationId xmlns:a16="http://schemas.microsoft.com/office/drawing/2014/main" id="{37DD8D62-AE3F-F1BA-FF3D-5622F65F2761}"/>
              </a:ext>
            </a:extLst>
          </p:cNvPr>
          <p:cNvCxnSpPr>
            <a:cxnSpLocks/>
          </p:cNvCxnSpPr>
          <p:nvPr/>
        </p:nvCxnSpPr>
        <p:spPr>
          <a:xfrm>
            <a:off x="3470398" y="1792158"/>
            <a:ext cx="0" cy="3000528"/>
          </a:xfrm>
          <a:prstGeom prst="line">
            <a:avLst/>
          </a:prstGeom>
          <a:ln cmpd="sng">
            <a:solidFill>
              <a:schemeClr val="tx1"/>
            </a:solidFill>
            <a:prstDash val="sysDot"/>
          </a:ln>
        </p:spPr>
        <p:style>
          <a:lnRef idx="1">
            <a:schemeClr val="dk1"/>
          </a:lnRef>
          <a:fillRef idx="0">
            <a:schemeClr val="dk1"/>
          </a:fillRef>
          <a:effectRef idx="0">
            <a:schemeClr val="dk1"/>
          </a:effectRef>
          <a:fontRef idx="minor">
            <a:schemeClr val="tx1"/>
          </a:fontRef>
        </p:style>
      </p:cxnSp>
      <p:grpSp>
        <p:nvGrpSpPr>
          <p:cNvPr id="75" name="Group 74">
            <a:extLst>
              <a:ext uri="{FF2B5EF4-FFF2-40B4-BE49-F238E27FC236}">
                <a16:creationId xmlns:a16="http://schemas.microsoft.com/office/drawing/2014/main" id="{3FA0F325-498D-E462-7D5E-93F3B1E61EC7}"/>
              </a:ext>
            </a:extLst>
          </p:cNvPr>
          <p:cNvGrpSpPr/>
          <p:nvPr/>
        </p:nvGrpSpPr>
        <p:grpSpPr>
          <a:xfrm>
            <a:off x="793927" y="1838283"/>
            <a:ext cx="2482240" cy="1919159"/>
            <a:chOff x="358863" y="1830323"/>
            <a:chExt cx="1814434" cy="1357874"/>
          </a:xfrm>
        </p:grpSpPr>
        <p:sp>
          <p:nvSpPr>
            <p:cNvPr id="39" name="Oval 38">
              <a:extLst>
                <a:ext uri="{FF2B5EF4-FFF2-40B4-BE49-F238E27FC236}">
                  <a16:creationId xmlns:a16="http://schemas.microsoft.com/office/drawing/2014/main" id="{B620B9B0-37F2-731E-D8C8-D7DD03E09B8B}"/>
                </a:ext>
              </a:extLst>
            </p:cNvPr>
            <p:cNvSpPr/>
            <p:nvPr/>
          </p:nvSpPr>
          <p:spPr>
            <a:xfrm>
              <a:off x="492492" y="2628267"/>
              <a:ext cx="45719" cy="457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D0D23605-45C2-D207-041F-ED3BC835F01C}"/>
                </a:ext>
              </a:extLst>
            </p:cNvPr>
            <p:cNvSpPr/>
            <p:nvPr/>
          </p:nvSpPr>
          <p:spPr>
            <a:xfrm>
              <a:off x="358863" y="2324394"/>
              <a:ext cx="1814434"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accent4"/>
                  </a:solidFill>
                </a:rPr>
                <a:t>HR &amp; Controlling</a:t>
              </a:r>
            </a:p>
          </p:txBody>
        </p:sp>
        <p:sp>
          <p:nvSpPr>
            <p:cNvPr id="12" name="Rectangle 11">
              <a:extLst>
                <a:ext uri="{FF2B5EF4-FFF2-40B4-BE49-F238E27FC236}">
                  <a16:creationId xmlns:a16="http://schemas.microsoft.com/office/drawing/2014/main" id="{E62A671E-47EE-6182-4F70-5F7E6A6AEDAA}"/>
                </a:ext>
              </a:extLst>
            </p:cNvPr>
            <p:cNvSpPr/>
            <p:nvPr/>
          </p:nvSpPr>
          <p:spPr>
            <a:xfrm>
              <a:off x="542485" y="2543372"/>
              <a:ext cx="1630812"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dirty="0"/>
                <a:t>Recruitment</a:t>
              </a:r>
              <a:endParaRPr lang="en-GB" sz="1200" dirty="0"/>
            </a:p>
          </p:txBody>
        </p:sp>
        <p:sp>
          <p:nvSpPr>
            <p:cNvPr id="13" name="Rectangle 12">
              <a:extLst>
                <a:ext uri="{FF2B5EF4-FFF2-40B4-BE49-F238E27FC236}">
                  <a16:creationId xmlns:a16="http://schemas.microsoft.com/office/drawing/2014/main" id="{3D3F6734-AFB0-E864-5FBA-3E9BB1A1088B}"/>
                </a:ext>
              </a:extLst>
            </p:cNvPr>
            <p:cNvSpPr/>
            <p:nvPr/>
          </p:nvSpPr>
          <p:spPr>
            <a:xfrm>
              <a:off x="542486" y="2755830"/>
              <a:ext cx="1630811"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dirty="0"/>
                <a:t>Assessment</a:t>
              </a:r>
            </a:p>
          </p:txBody>
        </p:sp>
        <p:sp>
          <p:nvSpPr>
            <p:cNvPr id="14" name="Rectangle 13">
              <a:extLst>
                <a:ext uri="{FF2B5EF4-FFF2-40B4-BE49-F238E27FC236}">
                  <a16:creationId xmlns:a16="http://schemas.microsoft.com/office/drawing/2014/main" id="{D719FE5C-7001-C962-3A0B-2B3EA598E002}"/>
                </a:ext>
              </a:extLst>
            </p:cNvPr>
            <p:cNvSpPr/>
            <p:nvPr/>
          </p:nvSpPr>
          <p:spPr>
            <a:xfrm>
              <a:off x="542486" y="2972689"/>
              <a:ext cx="1630811"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dirty="0"/>
                <a:t>Project Management</a:t>
              </a:r>
            </a:p>
          </p:txBody>
        </p:sp>
        <p:sp>
          <p:nvSpPr>
            <p:cNvPr id="33" name="Oval 32">
              <a:extLst>
                <a:ext uri="{FF2B5EF4-FFF2-40B4-BE49-F238E27FC236}">
                  <a16:creationId xmlns:a16="http://schemas.microsoft.com/office/drawing/2014/main" id="{16FDA2E3-0D7F-5162-9690-A23461867280}"/>
                </a:ext>
              </a:extLst>
            </p:cNvPr>
            <p:cNvSpPr/>
            <p:nvPr/>
          </p:nvSpPr>
          <p:spPr>
            <a:xfrm>
              <a:off x="492492" y="2850220"/>
              <a:ext cx="45719" cy="457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9" name="Picture 58" descr="Shape&#10;&#10;Description automatically generated with low confidence">
              <a:extLst>
                <a:ext uri="{FF2B5EF4-FFF2-40B4-BE49-F238E27FC236}">
                  <a16:creationId xmlns:a16="http://schemas.microsoft.com/office/drawing/2014/main" id="{2B5C472F-F433-38CE-E494-553FD179974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1316" y="1830323"/>
              <a:ext cx="425192" cy="425192"/>
            </a:xfrm>
            <a:prstGeom prst="rect">
              <a:avLst/>
            </a:prstGeom>
            <a:ln>
              <a:noFill/>
            </a:ln>
          </p:spPr>
        </p:pic>
        <p:sp>
          <p:nvSpPr>
            <p:cNvPr id="26" name="Oval 25">
              <a:extLst>
                <a:ext uri="{FF2B5EF4-FFF2-40B4-BE49-F238E27FC236}">
                  <a16:creationId xmlns:a16="http://schemas.microsoft.com/office/drawing/2014/main" id="{6A87590A-AF6B-2118-5D06-C2746FFD09A8}"/>
                </a:ext>
              </a:extLst>
            </p:cNvPr>
            <p:cNvSpPr/>
            <p:nvPr/>
          </p:nvSpPr>
          <p:spPr>
            <a:xfrm>
              <a:off x="492492" y="3065727"/>
              <a:ext cx="45719" cy="457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74" name="Group 73">
            <a:extLst>
              <a:ext uri="{FF2B5EF4-FFF2-40B4-BE49-F238E27FC236}">
                <a16:creationId xmlns:a16="http://schemas.microsoft.com/office/drawing/2014/main" id="{1CBAEF40-F8DF-13DB-0D89-21722AA9D425}"/>
              </a:ext>
            </a:extLst>
          </p:cNvPr>
          <p:cNvGrpSpPr/>
          <p:nvPr/>
        </p:nvGrpSpPr>
        <p:grpSpPr>
          <a:xfrm>
            <a:off x="3664628" y="1838284"/>
            <a:ext cx="1910982" cy="1571700"/>
            <a:chOff x="2561758" y="1830323"/>
            <a:chExt cx="1814744" cy="1141014"/>
          </a:xfrm>
        </p:grpSpPr>
        <p:sp>
          <p:nvSpPr>
            <p:cNvPr id="11" name="Rectangle 10">
              <a:extLst>
                <a:ext uri="{FF2B5EF4-FFF2-40B4-BE49-F238E27FC236}">
                  <a16:creationId xmlns:a16="http://schemas.microsoft.com/office/drawing/2014/main" id="{C472941D-E44C-87AC-08A3-B9DE55D21C71}"/>
                </a:ext>
              </a:extLst>
            </p:cNvPr>
            <p:cNvSpPr/>
            <p:nvPr/>
          </p:nvSpPr>
          <p:spPr>
            <a:xfrm>
              <a:off x="2561758" y="2324394"/>
              <a:ext cx="1814440"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accent4"/>
                  </a:solidFill>
                </a:rPr>
                <a:t>Accounting</a:t>
              </a:r>
            </a:p>
          </p:txBody>
        </p:sp>
        <p:sp>
          <p:nvSpPr>
            <p:cNvPr id="15" name="Rectangle 14">
              <a:extLst>
                <a:ext uri="{FF2B5EF4-FFF2-40B4-BE49-F238E27FC236}">
                  <a16:creationId xmlns:a16="http://schemas.microsoft.com/office/drawing/2014/main" id="{9CA76F24-8427-6A26-F6A1-CBE7DF4C0754}"/>
                </a:ext>
              </a:extLst>
            </p:cNvPr>
            <p:cNvSpPr/>
            <p:nvPr/>
          </p:nvSpPr>
          <p:spPr>
            <a:xfrm>
              <a:off x="2745690" y="2540322"/>
              <a:ext cx="1630812"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t>Expenses Management</a:t>
              </a:r>
            </a:p>
          </p:txBody>
        </p:sp>
        <p:pic>
          <p:nvPicPr>
            <p:cNvPr id="47" name="Picture 46" descr="Shape&#10;&#10;Description automatically generated with low confidence">
              <a:extLst>
                <a:ext uri="{FF2B5EF4-FFF2-40B4-BE49-F238E27FC236}">
                  <a16:creationId xmlns:a16="http://schemas.microsoft.com/office/drawing/2014/main" id="{4DF07E10-AD33-5682-748D-6D48791D1C9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56382" y="1830323"/>
              <a:ext cx="425192" cy="425192"/>
            </a:xfrm>
            <a:prstGeom prst="rect">
              <a:avLst/>
            </a:prstGeom>
            <a:ln>
              <a:noFill/>
            </a:ln>
          </p:spPr>
        </p:pic>
        <p:sp>
          <p:nvSpPr>
            <p:cNvPr id="28" name="Oval 27">
              <a:extLst>
                <a:ext uri="{FF2B5EF4-FFF2-40B4-BE49-F238E27FC236}">
                  <a16:creationId xmlns:a16="http://schemas.microsoft.com/office/drawing/2014/main" id="{C592A0A4-C7E5-276C-8533-A7827F2CE1FE}"/>
                </a:ext>
              </a:extLst>
            </p:cNvPr>
            <p:cNvSpPr/>
            <p:nvPr/>
          </p:nvSpPr>
          <p:spPr>
            <a:xfrm>
              <a:off x="2695697" y="2638250"/>
              <a:ext cx="45719" cy="457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Oval 28">
              <a:extLst>
                <a:ext uri="{FF2B5EF4-FFF2-40B4-BE49-F238E27FC236}">
                  <a16:creationId xmlns:a16="http://schemas.microsoft.com/office/drawing/2014/main" id="{62D82079-69E4-DBB3-8A03-1D1CC726C049}"/>
                </a:ext>
              </a:extLst>
            </p:cNvPr>
            <p:cNvSpPr/>
            <p:nvPr/>
          </p:nvSpPr>
          <p:spPr>
            <a:xfrm>
              <a:off x="2695697" y="2853757"/>
              <a:ext cx="45719" cy="457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a:extLst>
                <a:ext uri="{FF2B5EF4-FFF2-40B4-BE49-F238E27FC236}">
                  <a16:creationId xmlns:a16="http://schemas.microsoft.com/office/drawing/2014/main" id="{EBCF45EF-BD92-C5EE-BB20-A6B2A5C9A15B}"/>
                </a:ext>
              </a:extLst>
            </p:cNvPr>
            <p:cNvSpPr/>
            <p:nvPr/>
          </p:nvSpPr>
          <p:spPr>
            <a:xfrm>
              <a:off x="2745690" y="2755829"/>
              <a:ext cx="1630812"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t>Funds Collection</a:t>
              </a:r>
            </a:p>
          </p:txBody>
        </p:sp>
      </p:grpSp>
      <p:grpSp>
        <p:nvGrpSpPr>
          <p:cNvPr id="72" name="Group 71">
            <a:extLst>
              <a:ext uri="{FF2B5EF4-FFF2-40B4-BE49-F238E27FC236}">
                <a16:creationId xmlns:a16="http://schemas.microsoft.com/office/drawing/2014/main" id="{EF9091B6-41AD-1D6E-BCB5-B819BDAAA251}"/>
              </a:ext>
            </a:extLst>
          </p:cNvPr>
          <p:cNvGrpSpPr/>
          <p:nvPr/>
        </p:nvGrpSpPr>
        <p:grpSpPr>
          <a:xfrm>
            <a:off x="6093351" y="1855102"/>
            <a:ext cx="2378631" cy="3027888"/>
            <a:chOff x="4766827" y="1830323"/>
            <a:chExt cx="1814680" cy="2206052"/>
          </a:xfrm>
        </p:grpSpPr>
        <p:sp>
          <p:nvSpPr>
            <p:cNvPr id="10" name="Rectangle 9">
              <a:extLst>
                <a:ext uri="{FF2B5EF4-FFF2-40B4-BE49-F238E27FC236}">
                  <a16:creationId xmlns:a16="http://schemas.microsoft.com/office/drawing/2014/main" id="{9079BA94-DA59-8F08-E9ED-9C1233C1F5D1}"/>
                </a:ext>
              </a:extLst>
            </p:cNvPr>
            <p:cNvSpPr/>
            <p:nvPr/>
          </p:nvSpPr>
          <p:spPr>
            <a:xfrm>
              <a:off x="4766827" y="2324394"/>
              <a:ext cx="1814429"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accent4"/>
                  </a:solidFill>
                </a:rPr>
                <a:t>Global Outreach</a:t>
              </a:r>
            </a:p>
          </p:txBody>
        </p:sp>
        <p:sp>
          <p:nvSpPr>
            <p:cNvPr id="21" name="Rectangle 20">
              <a:extLst>
                <a:ext uri="{FF2B5EF4-FFF2-40B4-BE49-F238E27FC236}">
                  <a16:creationId xmlns:a16="http://schemas.microsoft.com/office/drawing/2014/main" id="{0C49376F-F4D8-C788-332F-E502E0B3499D}"/>
                </a:ext>
              </a:extLst>
            </p:cNvPr>
            <p:cNvSpPr/>
            <p:nvPr/>
          </p:nvSpPr>
          <p:spPr>
            <a:xfrm>
              <a:off x="5252491" y="2757181"/>
              <a:ext cx="1328765"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t>Internships</a:t>
              </a:r>
            </a:p>
          </p:txBody>
        </p:sp>
        <p:sp>
          <p:nvSpPr>
            <p:cNvPr id="22" name="Rectangle 21">
              <a:extLst>
                <a:ext uri="{FF2B5EF4-FFF2-40B4-BE49-F238E27FC236}">
                  <a16:creationId xmlns:a16="http://schemas.microsoft.com/office/drawing/2014/main" id="{761483DB-B214-F488-DBB7-66973BAE40DB}"/>
                </a:ext>
              </a:extLst>
            </p:cNvPr>
            <p:cNvSpPr/>
            <p:nvPr/>
          </p:nvSpPr>
          <p:spPr>
            <a:xfrm>
              <a:off x="5252490" y="2972689"/>
              <a:ext cx="1328766"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t>In-company Visits</a:t>
              </a:r>
            </a:p>
          </p:txBody>
        </p:sp>
        <p:sp>
          <p:nvSpPr>
            <p:cNvPr id="23" name="Rectangle 22">
              <a:extLst>
                <a:ext uri="{FF2B5EF4-FFF2-40B4-BE49-F238E27FC236}">
                  <a16:creationId xmlns:a16="http://schemas.microsoft.com/office/drawing/2014/main" id="{5E2E3EB0-F939-D7A5-5942-87F3C89A0ED2}"/>
                </a:ext>
              </a:extLst>
            </p:cNvPr>
            <p:cNvSpPr/>
            <p:nvPr/>
          </p:nvSpPr>
          <p:spPr>
            <a:xfrm>
              <a:off x="5252490" y="3188197"/>
              <a:ext cx="1328766"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t>Partnerships</a:t>
              </a:r>
            </a:p>
          </p:txBody>
        </p:sp>
        <p:sp>
          <p:nvSpPr>
            <p:cNvPr id="25" name="Rectangle 24">
              <a:extLst>
                <a:ext uri="{FF2B5EF4-FFF2-40B4-BE49-F238E27FC236}">
                  <a16:creationId xmlns:a16="http://schemas.microsoft.com/office/drawing/2014/main" id="{2A90BFD9-DA37-033D-053D-2AFDE5E89BAE}"/>
                </a:ext>
              </a:extLst>
            </p:cNvPr>
            <p:cNvSpPr/>
            <p:nvPr/>
          </p:nvSpPr>
          <p:spPr>
            <a:xfrm>
              <a:off x="5252740" y="3619213"/>
              <a:ext cx="1328767" cy="417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t>Contact with other students associations</a:t>
              </a:r>
            </a:p>
          </p:txBody>
        </p:sp>
        <p:pic>
          <p:nvPicPr>
            <p:cNvPr id="49" name="Picture 48" descr="Shape&#10;&#10;Description automatically generated with low confidence">
              <a:extLst>
                <a:ext uri="{FF2B5EF4-FFF2-40B4-BE49-F238E27FC236}">
                  <a16:creationId xmlns:a16="http://schemas.microsoft.com/office/drawing/2014/main" id="{7CDC25B9-6583-DE82-7430-626EE793CB7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49313" y="1830323"/>
              <a:ext cx="425192" cy="419455"/>
            </a:xfrm>
            <a:prstGeom prst="rect">
              <a:avLst/>
            </a:prstGeom>
            <a:ln>
              <a:noFill/>
            </a:ln>
          </p:spPr>
        </p:pic>
        <p:sp>
          <p:nvSpPr>
            <p:cNvPr id="48" name="Rectangle 47">
              <a:extLst>
                <a:ext uri="{FF2B5EF4-FFF2-40B4-BE49-F238E27FC236}">
                  <a16:creationId xmlns:a16="http://schemas.microsoft.com/office/drawing/2014/main" id="{4C742C89-DDBD-2A04-F841-42FA9D422761}"/>
                </a:ext>
              </a:extLst>
            </p:cNvPr>
            <p:cNvSpPr/>
            <p:nvPr/>
          </p:nvSpPr>
          <p:spPr>
            <a:xfrm>
              <a:off x="4950444" y="2542464"/>
              <a:ext cx="1630812"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a:t>Corporate Relations</a:t>
              </a:r>
            </a:p>
          </p:txBody>
        </p:sp>
        <p:sp>
          <p:nvSpPr>
            <p:cNvPr id="50" name="Rectangle 49">
              <a:extLst>
                <a:ext uri="{FF2B5EF4-FFF2-40B4-BE49-F238E27FC236}">
                  <a16:creationId xmlns:a16="http://schemas.microsoft.com/office/drawing/2014/main" id="{9D68ED99-827F-8A6C-BF95-A10FE25FB4CD}"/>
                </a:ext>
              </a:extLst>
            </p:cNvPr>
            <p:cNvSpPr/>
            <p:nvPr/>
          </p:nvSpPr>
          <p:spPr>
            <a:xfrm>
              <a:off x="4950444" y="3405042"/>
              <a:ext cx="1630812"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dirty="0"/>
                <a:t>University Affairs</a:t>
              </a:r>
            </a:p>
          </p:txBody>
        </p:sp>
        <p:sp>
          <p:nvSpPr>
            <p:cNvPr id="54" name="Oval 53">
              <a:extLst>
                <a:ext uri="{FF2B5EF4-FFF2-40B4-BE49-F238E27FC236}">
                  <a16:creationId xmlns:a16="http://schemas.microsoft.com/office/drawing/2014/main" id="{8BF2D06B-00F4-70E8-D4AA-0EB26CEF2EA2}"/>
                </a:ext>
              </a:extLst>
            </p:cNvPr>
            <p:cNvSpPr/>
            <p:nvPr/>
          </p:nvSpPr>
          <p:spPr>
            <a:xfrm>
              <a:off x="4896184" y="2627359"/>
              <a:ext cx="45719" cy="457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Oval 54">
              <a:extLst>
                <a:ext uri="{FF2B5EF4-FFF2-40B4-BE49-F238E27FC236}">
                  <a16:creationId xmlns:a16="http://schemas.microsoft.com/office/drawing/2014/main" id="{C8941F12-A729-5567-072C-DC2277A93D57}"/>
                </a:ext>
              </a:extLst>
            </p:cNvPr>
            <p:cNvSpPr/>
            <p:nvPr/>
          </p:nvSpPr>
          <p:spPr>
            <a:xfrm>
              <a:off x="4896184" y="3489937"/>
              <a:ext cx="45719" cy="457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Rectangle 57">
              <a:extLst>
                <a:ext uri="{FF2B5EF4-FFF2-40B4-BE49-F238E27FC236}">
                  <a16:creationId xmlns:a16="http://schemas.microsoft.com/office/drawing/2014/main" id="{BF6474F9-5E4E-B1E1-6522-3376B4B66D95}"/>
                </a:ext>
              </a:extLst>
            </p:cNvPr>
            <p:cNvSpPr/>
            <p:nvPr/>
          </p:nvSpPr>
          <p:spPr>
            <a:xfrm>
              <a:off x="5215148" y="2850535"/>
              <a:ext cx="28800" cy="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T"/>
            </a:p>
          </p:txBody>
        </p:sp>
        <p:sp>
          <p:nvSpPr>
            <p:cNvPr id="65" name="Rectangle 64">
              <a:extLst>
                <a:ext uri="{FF2B5EF4-FFF2-40B4-BE49-F238E27FC236}">
                  <a16:creationId xmlns:a16="http://schemas.microsoft.com/office/drawing/2014/main" id="{CE749CFE-317E-85D5-0F12-A8A2E7193B41}"/>
                </a:ext>
              </a:extLst>
            </p:cNvPr>
            <p:cNvSpPr/>
            <p:nvPr/>
          </p:nvSpPr>
          <p:spPr>
            <a:xfrm>
              <a:off x="5215148" y="3066043"/>
              <a:ext cx="28800" cy="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T"/>
            </a:p>
          </p:txBody>
        </p:sp>
        <p:sp>
          <p:nvSpPr>
            <p:cNvPr id="66" name="Rectangle 65">
              <a:extLst>
                <a:ext uri="{FF2B5EF4-FFF2-40B4-BE49-F238E27FC236}">
                  <a16:creationId xmlns:a16="http://schemas.microsoft.com/office/drawing/2014/main" id="{E44CB7A8-7B2A-904B-1DCE-1CFDD4A5BB9B}"/>
                </a:ext>
              </a:extLst>
            </p:cNvPr>
            <p:cNvSpPr/>
            <p:nvPr/>
          </p:nvSpPr>
          <p:spPr>
            <a:xfrm>
              <a:off x="5215148" y="3281551"/>
              <a:ext cx="28800" cy="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T"/>
            </a:p>
          </p:txBody>
        </p:sp>
        <p:sp>
          <p:nvSpPr>
            <p:cNvPr id="67" name="Rectangle 66">
              <a:extLst>
                <a:ext uri="{FF2B5EF4-FFF2-40B4-BE49-F238E27FC236}">
                  <a16:creationId xmlns:a16="http://schemas.microsoft.com/office/drawing/2014/main" id="{7F3D379D-437E-A40D-F498-8F8BDE4AFDE0}"/>
                </a:ext>
              </a:extLst>
            </p:cNvPr>
            <p:cNvSpPr/>
            <p:nvPr/>
          </p:nvSpPr>
          <p:spPr>
            <a:xfrm>
              <a:off x="5215399" y="3736220"/>
              <a:ext cx="28800" cy="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T"/>
            </a:p>
          </p:txBody>
        </p:sp>
      </p:grpSp>
      <p:pic>
        <p:nvPicPr>
          <p:cNvPr id="8" name="Graphic 7" descr="Cycle with people with solid fill">
            <a:extLst>
              <a:ext uri="{FF2B5EF4-FFF2-40B4-BE49-F238E27FC236}">
                <a16:creationId xmlns:a16="http://schemas.microsoft.com/office/drawing/2014/main" id="{876465E5-9FF4-279F-E689-6D417D058B6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32860" y="3886495"/>
            <a:ext cx="1011848" cy="1011848"/>
          </a:xfrm>
          <a:prstGeom prst="rect">
            <a:avLst/>
          </a:prstGeom>
        </p:spPr>
      </p:pic>
      <p:pic>
        <p:nvPicPr>
          <p:cNvPr id="18" name="Graphic 17" descr="Coins outline">
            <a:extLst>
              <a:ext uri="{FF2B5EF4-FFF2-40B4-BE49-F238E27FC236}">
                <a16:creationId xmlns:a16="http://schemas.microsoft.com/office/drawing/2014/main" id="{F24668AB-8A3F-6148-6541-196267B0FF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98547" y="4027760"/>
            <a:ext cx="836829" cy="836829"/>
          </a:xfrm>
          <a:prstGeom prst="rect">
            <a:avLst/>
          </a:prstGeom>
        </p:spPr>
      </p:pic>
      <p:sp>
        <p:nvSpPr>
          <p:cNvPr id="7" name="Date Placeholder 3">
            <a:extLst>
              <a:ext uri="{FF2B5EF4-FFF2-40B4-BE49-F238E27FC236}">
                <a16:creationId xmlns:a16="http://schemas.microsoft.com/office/drawing/2014/main" id="{D18F0EAC-D4E4-FB61-ACCC-7B72A01B2D73}"/>
              </a:ext>
            </a:extLst>
          </p:cNvPr>
          <p:cNvSpPr txBox="1">
            <a:spLocks/>
          </p:cNvSpPr>
          <p:nvPr/>
        </p:nvSpPr>
        <p:spPr>
          <a:xfrm>
            <a:off x="357680" y="6356351"/>
            <a:ext cx="20574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Arial" panose="020B0604020202020204" pitchFamily="34" charset="0"/>
                <a:cs typeface="Arial" panose="020B0604020202020204" pitchFamily="34" charset="0"/>
              </a:rPr>
              <a:t>November 20, 2024</a:t>
            </a:r>
          </a:p>
        </p:txBody>
      </p:sp>
    </p:spTree>
    <p:extLst>
      <p:ext uri="{BB962C8B-B14F-4D97-AF65-F5344CB8AC3E}">
        <p14:creationId xmlns:p14="http://schemas.microsoft.com/office/powerpoint/2010/main" val="10540640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C552CA-F055-09B1-7E59-4F98DCB7D65D}"/>
              </a:ext>
            </a:extLst>
          </p:cNvPr>
          <p:cNvSpPr>
            <a:spLocks noGrp="1"/>
          </p:cNvSpPr>
          <p:nvPr>
            <p:ph type="title"/>
          </p:nvPr>
        </p:nvSpPr>
        <p:spPr/>
        <p:txBody>
          <a:bodyPr/>
          <a:lstStyle/>
          <a:p>
            <a:r>
              <a:rPr lang="en-IT"/>
              <a:t>About Global Outreach</a:t>
            </a:r>
          </a:p>
        </p:txBody>
      </p:sp>
      <p:sp>
        <p:nvSpPr>
          <p:cNvPr id="3" name="Content Placeholder 2">
            <a:extLst>
              <a:ext uri="{FF2B5EF4-FFF2-40B4-BE49-F238E27FC236}">
                <a16:creationId xmlns:a16="http://schemas.microsoft.com/office/drawing/2014/main" id="{810AB39B-0E5B-31A4-C5F9-5DC9CD3B7670}"/>
              </a:ext>
            </a:extLst>
          </p:cNvPr>
          <p:cNvSpPr>
            <a:spLocks noGrp="1"/>
          </p:cNvSpPr>
          <p:nvPr>
            <p:ph idx="1"/>
          </p:nvPr>
        </p:nvSpPr>
        <p:spPr/>
        <p:txBody>
          <a:bodyPr/>
          <a:lstStyle/>
          <a:p>
            <a:r>
              <a:rPr lang="en-IT"/>
              <a:t>What does Global Outreach do? </a:t>
            </a:r>
          </a:p>
        </p:txBody>
      </p:sp>
      <p:sp>
        <p:nvSpPr>
          <p:cNvPr id="5" name="Slide Number Placeholder 4">
            <a:extLst>
              <a:ext uri="{FF2B5EF4-FFF2-40B4-BE49-F238E27FC236}">
                <a16:creationId xmlns:a16="http://schemas.microsoft.com/office/drawing/2014/main" id="{CFA3B188-A996-EAC9-6C66-3077F0385A81}"/>
              </a:ext>
            </a:extLst>
          </p:cNvPr>
          <p:cNvSpPr>
            <a:spLocks noGrp="1"/>
          </p:cNvSpPr>
          <p:nvPr>
            <p:ph type="sldNum" sz="quarter" idx="12"/>
          </p:nvPr>
        </p:nvSpPr>
        <p:spPr/>
        <p:txBody>
          <a:bodyPr/>
          <a:lstStyle/>
          <a:p>
            <a:fld id="{330EA680-D336-4FF7-8B7A-9848BB0A1C32}" type="slidenum">
              <a:rPr lang="en-US" smtClean="0"/>
              <a:pPr/>
              <a:t>13</a:t>
            </a:fld>
            <a:endParaRPr lang="en-US"/>
          </a:p>
        </p:txBody>
      </p:sp>
      <p:sp>
        <p:nvSpPr>
          <p:cNvPr id="6" name="Text Placeholder 5">
            <a:extLst>
              <a:ext uri="{FF2B5EF4-FFF2-40B4-BE49-F238E27FC236}">
                <a16:creationId xmlns:a16="http://schemas.microsoft.com/office/drawing/2014/main" id="{3D46379F-8D84-5918-D988-65F9DD1EB7FF}"/>
              </a:ext>
            </a:extLst>
          </p:cNvPr>
          <p:cNvSpPr>
            <a:spLocks noGrp="1"/>
          </p:cNvSpPr>
          <p:nvPr>
            <p:ph type="body" sz="quarter" idx="13"/>
          </p:nvPr>
        </p:nvSpPr>
        <p:spPr/>
        <p:txBody>
          <a:bodyPr/>
          <a:lstStyle/>
          <a:p>
            <a:endParaRPr lang="en-IT" dirty="0"/>
          </a:p>
        </p:txBody>
      </p:sp>
      <p:sp>
        <p:nvSpPr>
          <p:cNvPr id="8" name="Rectangle 7">
            <a:extLst>
              <a:ext uri="{FF2B5EF4-FFF2-40B4-BE49-F238E27FC236}">
                <a16:creationId xmlns:a16="http://schemas.microsoft.com/office/drawing/2014/main" id="{83E1A1F8-BF0F-C6A8-C944-EAE751BB3D75}"/>
              </a:ext>
            </a:extLst>
          </p:cNvPr>
          <p:cNvSpPr/>
          <p:nvPr/>
        </p:nvSpPr>
        <p:spPr>
          <a:xfrm>
            <a:off x="356694" y="1925597"/>
            <a:ext cx="1735200"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a:solidFill>
                  <a:schemeClr val="accent4"/>
                </a:solidFill>
              </a:rPr>
              <a:t>Corporate Relations</a:t>
            </a:r>
          </a:p>
        </p:txBody>
      </p:sp>
      <p:sp>
        <p:nvSpPr>
          <p:cNvPr id="10" name="Rounded Rectangle 9">
            <a:extLst>
              <a:ext uri="{FF2B5EF4-FFF2-40B4-BE49-F238E27FC236}">
                <a16:creationId xmlns:a16="http://schemas.microsoft.com/office/drawing/2014/main" id="{CCF0EE1F-10CE-AB03-6B0E-F2CE7953A3C8}"/>
              </a:ext>
            </a:extLst>
          </p:cNvPr>
          <p:cNvSpPr/>
          <p:nvPr/>
        </p:nvSpPr>
        <p:spPr>
          <a:xfrm>
            <a:off x="434301" y="2266517"/>
            <a:ext cx="2209657" cy="1297550"/>
          </a:xfrm>
          <a:prstGeom prst="roundRect">
            <a:avLst/>
          </a:prstGeom>
          <a:ln>
            <a:solidFill>
              <a:schemeClr val="accent5">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50" b="1" dirty="0"/>
              <a:t>Increase</a:t>
            </a:r>
            <a:r>
              <a:rPr lang="en-GB" sz="1050" dirty="0"/>
              <a:t> the number of internships offered to BSFS members from the levels reached in the last academic years, by </a:t>
            </a:r>
            <a:r>
              <a:rPr lang="en-GB" sz="1050" b="1" dirty="0"/>
              <a:t>leveraging</a:t>
            </a:r>
            <a:r>
              <a:rPr lang="en-GB" sz="1050" dirty="0"/>
              <a:t> our </a:t>
            </a:r>
            <a:r>
              <a:rPr lang="en-GB" sz="1050" b="1" dirty="0"/>
              <a:t>network</a:t>
            </a:r>
            <a:r>
              <a:rPr lang="en-GB" sz="1050" dirty="0"/>
              <a:t> and the </a:t>
            </a:r>
            <a:r>
              <a:rPr lang="en-GB" sz="1050" b="1" dirty="0"/>
              <a:t>quality of works </a:t>
            </a:r>
            <a:r>
              <a:rPr lang="en-GB" sz="1050" dirty="0"/>
              <a:t>produced.</a:t>
            </a:r>
          </a:p>
        </p:txBody>
      </p:sp>
      <p:sp>
        <p:nvSpPr>
          <p:cNvPr id="11" name="TextBox 10">
            <a:extLst>
              <a:ext uri="{FF2B5EF4-FFF2-40B4-BE49-F238E27FC236}">
                <a16:creationId xmlns:a16="http://schemas.microsoft.com/office/drawing/2014/main" id="{7C08828A-C603-CD28-13A9-31D636D9AAD8}"/>
              </a:ext>
            </a:extLst>
          </p:cNvPr>
          <p:cNvSpPr txBox="1"/>
          <p:nvPr/>
        </p:nvSpPr>
        <p:spPr>
          <a:xfrm>
            <a:off x="711403" y="2141105"/>
            <a:ext cx="840295" cy="261610"/>
          </a:xfrm>
          <a:prstGeom prst="rect">
            <a:avLst/>
          </a:prstGeom>
          <a:solidFill>
            <a:schemeClr val="bg2"/>
          </a:solidFill>
        </p:spPr>
        <p:txBody>
          <a:bodyPr wrap="none" rtlCol="0">
            <a:spAutoFit/>
          </a:bodyPr>
          <a:lstStyle/>
          <a:p>
            <a:r>
              <a:rPr lang="en-IT" sz="1100" b="1">
                <a:solidFill>
                  <a:schemeClr val="tx2">
                    <a:lumMod val="75000"/>
                  </a:schemeClr>
                </a:solidFill>
              </a:rPr>
              <a:t>Internships</a:t>
            </a:r>
          </a:p>
        </p:txBody>
      </p:sp>
      <p:sp>
        <p:nvSpPr>
          <p:cNvPr id="12" name="Rounded Rectangle 11">
            <a:extLst>
              <a:ext uri="{FF2B5EF4-FFF2-40B4-BE49-F238E27FC236}">
                <a16:creationId xmlns:a16="http://schemas.microsoft.com/office/drawing/2014/main" id="{B389EAC3-3C5D-B736-C3C1-6D4FD3560FC8}"/>
              </a:ext>
            </a:extLst>
          </p:cNvPr>
          <p:cNvSpPr/>
          <p:nvPr/>
        </p:nvSpPr>
        <p:spPr>
          <a:xfrm>
            <a:off x="3505482" y="2266517"/>
            <a:ext cx="2209657" cy="1297550"/>
          </a:xfrm>
          <a:prstGeom prst="roundRect">
            <a:avLst/>
          </a:prstGeom>
          <a:ln>
            <a:solidFill>
              <a:schemeClr val="accent5">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T" sz="1050" b="1" dirty="0"/>
              <a:t>Reactivate</a:t>
            </a:r>
            <a:r>
              <a:rPr lang="en-IT" sz="1050" dirty="0"/>
              <a:t> the upward trend that BSFS saw in the last two years, during which the association collaborated with companies such as </a:t>
            </a:r>
            <a:r>
              <a:rPr lang="en-IT" sz="1050" b="1" dirty="0"/>
              <a:t>Unicredit</a:t>
            </a:r>
            <a:r>
              <a:rPr lang="en-IT" sz="1050" dirty="0"/>
              <a:t> and </a:t>
            </a:r>
            <a:r>
              <a:rPr lang="en-IT" sz="1050" b="1" dirty="0"/>
              <a:t>Borsa Italiana</a:t>
            </a:r>
            <a:r>
              <a:rPr lang="en-IT" sz="1050" dirty="0"/>
              <a:t>.</a:t>
            </a:r>
          </a:p>
        </p:txBody>
      </p:sp>
      <p:sp>
        <p:nvSpPr>
          <p:cNvPr id="13" name="TextBox 12">
            <a:extLst>
              <a:ext uri="{FF2B5EF4-FFF2-40B4-BE49-F238E27FC236}">
                <a16:creationId xmlns:a16="http://schemas.microsoft.com/office/drawing/2014/main" id="{81D4AAD7-49B6-BCB2-C7A8-0FD20EA4862C}"/>
              </a:ext>
            </a:extLst>
          </p:cNvPr>
          <p:cNvSpPr txBox="1"/>
          <p:nvPr/>
        </p:nvSpPr>
        <p:spPr>
          <a:xfrm>
            <a:off x="3782584" y="2141105"/>
            <a:ext cx="922047" cy="261610"/>
          </a:xfrm>
          <a:prstGeom prst="rect">
            <a:avLst/>
          </a:prstGeom>
          <a:solidFill>
            <a:schemeClr val="bg2"/>
          </a:solidFill>
        </p:spPr>
        <p:txBody>
          <a:bodyPr wrap="none" rtlCol="0">
            <a:spAutoFit/>
          </a:bodyPr>
          <a:lstStyle/>
          <a:p>
            <a:r>
              <a:rPr lang="en-IT" sz="1100" b="1">
                <a:solidFill>
                  <a:schemeClr val="tx2">
                    <a:lumMod val="75000"/>
                  </a:schemeClr>
                </a:solidFill>
              </a:rPr>
              <a:t>Partnerships</a:t>
            </a:r>
          </a:p>
        </p:txBody>
      </p:sp>
      <p:sp>
        <p:nvSpPr>
          <p:cNvPr id="14" name="Rounded Rectangle 13">
            <a:extLst>
              <a:ext uri="{FF2B5EF4-FFF2-40B4-BE49-F238E27FC236}">
                <a16:creationId xmlns:a16="http://schemas.microsoft.com/office/drawing/2014/main" id="{D33D2C5C-AC29-5946-436F-249F60DDD8EA}"/>
              </a:ext>
            </a:extLst>
          </p:cNvPr>
          <p:cNvSpPr/>
          <p:nvPr/>
        </p:nvSpPr>
        <p:spPr>
          <a:xfrm>
            <a:off x="6576663" y="2266517"/>
            <a:ext cx="2209657" cy="1297550"/>
          </a:xfrm>
          <a:prstGeom prst="roundRect">
            <a:avLst/>
          </a:prstGeom>
          <a:ln>
            <a:solidFill>
              <a:schemeClr val="accent5">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T" sz="1050" b="1" dirty="0"/>
              <a:t>Contact</a:t>
            </a:r>
            <a:r>
              <a:rPr lang="en-IT" sz="1050" dirty="0"/>
              <a:t> companies about the possibility to organise in-company visits reserved to BSFS members or to the greater Bocconi community in general.</a:t>
            </a:r>
          </a:p>
        </p:txBody>
      </p:sp>
      <p:sp>
        <p:nvSpPr>
          <p:cNvPr id="15" name="TextBox 14">
            <a:extLst>
              <a:ext uri="{FF2B5EF4-FFF2-40B4-BE49-F238E27FC236}">
                <a16:creationId xmlns:a16="http://schemas.microsoft.com/office/drawing/2014/main" id="{F47146E5-B877-784F-728B-B66D9D66A9A6}"/>
              </a:ext>
            </a:extLst>
          </p:cNvPr>
          <p:cNvSpPr txBox="1"/>
          <p:nvPr/>
        </p:nvSpPr>
        <p:spPr>
          <a:xfrm>
            <a:off x="6853765" y="2141105"/>
            <a:ext cx="1208985" cy="261610"/>
          </a:xfrm>
          <a:prstGeom prst="rect">
            <a:avLst/>
          </a:prstGeom>
          <a:solidFill>
            <a:schemeClr val="bg2"/>
          </a:solidFill>
        </p:spPr>
        <p:txBody>
          <a:bodyPr wrap="none" rtlCol="0">
            <a:spAutoFit/>
          </a:bodyPr>
          <a:lstStyle/>
          <a:p>
            <a:r>
              <a:rPr lang="en-IT" sz="1100" b="1">
                <a:solidFill>
                  <a:schemeClr val="tx2">
                    <a:lumMod val="75000"/>
                  </a:schemeClr>
                </a:solidFill>
              </a:rPr>
              <a:t>In-company visits</a:t>
            </a:r>
          </a:p>
        </p:txBody>
      </p:sp>
      <p:sp>
        <p:nvSpPr>
          <p:cNvPr id="16" name="Rounded Rectangle 15">
            <a:extLst>
              <a:ext uri="{FF2B5EF4-FFF2-40B4-BE49-F238E27FC236}">
                <a16:creationId xmlns:a16="http://schemas.microsoft.com/office/drawing/2014/main" id="{339735BD-A789-8A13-95DB-187D1C6FAE54}"/>
              </a:ext>
            </a:extLst>
          </p:cNvPr>
          <p:cNvSpPr/>
          <p:nvPr/>
        </p:nvSpPr>
        <p:spPr>
          <a:xfrm>
            <a:off x="1873978" y="4033461"/>
            <a:ext cx="2209657" cy="1297550"/>
          </a:xfrm>
          <a:prstGeom prst="roundRect">
            <a:avLst/>
          </a:prstGeom>
          <a:ln>
            <a:solidFill>
              <a:schemeClr val="accent5">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T" sz="1050" dirty="0"/>
              <a:t>In 2022, BSFS was invited by the Imperial College Finance Club to join the </a:t>
            </a:r>
            <a:r>
              <a:rPr lang="en-IT" sz="1050" b="1" dirty="0"/>
              <a:t>Royal Challenge (M&amp;A Case Study Competition). </a:t>
            </a:r>
            <a:r>
              <a:rPr lang="en-IT" sz="1050" dirty="0"/>
              <a:t>We want to </a:t>
            </a:r>
            <a:r>
              <a:rPr lang="en-IT" sz="1050" b="1" dirty="0"/>
              <a:t>further explore</a:t>
            </a:r>
            <a:r>
              <a:rPr lang="en-IT" sz="1050" dirty="0"/>
              <a:t> the possibilities associated with such events.</a:t>
            </a:r>
          </a:p>
        </p:txBody>
      </p:sp>
      <p:sp>
        <p:nvSpPr>
          <p:cNvPr id="17" name="TextBox 16">
            <a:extLst>
              <a:ext uri="{FF2B5EF4-FFF2-40B4-BE49-F238E27FC236}">
                <a16:creationId xmlns:a16="http://schemas.microsoft.com/office/drawing/2014/main" id="{B33660B5-B50D-B0D1-4640-E54A03764A3B}"/>
              </a:ext>
            </a:extLst>
          </p:cNvPr>
          <p:cNvSpPr txBox="1"/>
          <p:nvPr/>
        </p:nvSpPr>
        <p:spPr>
          <a:xfrm>
            <a:off x="2151080" y="3908049"/>
            <a:ext cx="973343" cy="261610"/>
          </a:xfrm>
          <a:prstGeom prst="rect">
            <a:avLst/>
          </a:prstGeom>
          <a:solidFill>
            <a:schemeClr val="bg2"/>
          </a:solidFill>
        </p:spPr>
        <p:txBody>
          <a:bodyPr wrap="none" rtlCol="0">
            <a:spAutoFit/>
          </a:bodyPr>
          <a:lstStyle/>
          <a:p>
            <a:r>
              <a:rPr lang="en-IT" sz="1100" b="1">
                <a:solidFill>
                  <a:schemeClr val="tx2">
                    <a:lumMod val="75000"/>
                  </a:schemeClr>
                </a:solidFill>
              </a:rPr>
              <a:t>Competitions</a:t>
            </a:r>
          </a:p>
        </p:txBody>
      </p:sp>
      <p:sp>
        <p:nvSpPr>
          <p:cNvPr id="18" name="Rounded Rectangle 17">
            <a:extLst>
              <a:ext uri="{FF2B5EF4-FFF2-40B4-BE49-F238E27FC236}">
                <a16:creationId xmlns:a16="http://schemas.microsoft.com/office/drawing/2014/main" id="{53E62C1E-FE04-F5ED-21A1-63C165D528BF}"/>
              </a:ext>
            </a:extLst>
          </p:cNvPr>
          <p:cNvSpPr/>
          <p:nvPr/>
        </p:nvSpPr>
        <p:spPr>
          <a:xfrm>
            <a:off x="5060365" y="4033461"/>
            <a:ext cx="2209657" cy="1297550"/>
          </a:xfrm>
          <a:prstGeom prst="roundRect">
            <a:avLst/>
          </a:prstGeom>
          <a:ln>
            <a:solidFill>
              <a:schemeClr val="accent5">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IT" sz="1050" dirty="0"/>
              <a:t>In the past, we were able to organise together with BS Real Estate and BS Finance Society two events that were attended by </a:t>
            </a:r>
            <a:r>
              <a:rPr lang="en-IT" sz="1050" b="1" dirty="0"/>
              <a:t>more than 100 people</a:t>
            </a:r>
            <a:r>
              <a:rPr lang="en-IT" sz="1050" dirty="0"/>
              <a:t>. For 2024-2025 we intend to expand this type of collaborations.</a:t>
            </a:r>
          </a:p>
        </p:txBody>
      </p:sp>
      <p:sp>
        <p:nvSpPr>
          <p:cNvPr id="19" name="TextBox 18">
            <a:extLst>
              <a:ext uri="{FF2B5EF4-FFF2-40B4-BE49-F238E27FC236}">
                <a16:creationId xmlns:a16="http://schemas.microsoft.com/office/drawing/2014/main" id="{0AF3F4E7-C482-C8E9-F002-635AC57366DC}"/>
              </a:ext>
            </a:extLst>
          </p:cNvPr>
          <p:cNvSpPr txBox="1"/>
          <p:nvPr/>
        </p:nvSpPr>
        <p:spPr>
          <a:xfrm>
            <a:off x="5337467" y="3908049"/>
            <a:ext cx="1035861" cy="261610"/>
          </a:xfrm>
          <a:prstGeom prst="rect">
            <a:avLst/>
          </a:prstGeom>
          <a:solidFill>
            <a:schemeClr val="bg2"/>
          </a:solidFill>
        </p:spPr>
        <p:txBody>
          <a:bodyPr wrap="none" rtlCol="0">
            <a:spAutoFit/>
          </a:bodyPr>
          <a:lstStyle/>
          <a:p>
            <a:r>
              <a:rPr lang="en-IT" sz="1100" b="1">
                <a:solidFill>
                  <a:schemeClr val="tx2">
                    <a:lumMod val="75000"/>
                  </a:schemeClr>
                </a:solidFill>
              </a:rPr>
              <a:t>Collaborations</a:t>
            </a:r>
          </a:p>
        </p:txBody>
      </p:sp>
      <p:sp>
        <p:nvSpPr>
          <p:cNvPr id="23" name="Rectangle 22">
            <a:extLst>
              <a:ext uri="{FF2B5EF4-FFF2-40B4-BE49-F238E27FC236}">
                <a16:creationId xmlns:a16="http://schemas.microsoft.com/office/drawing/2014/main" id="{46D0C375-619B-FBDA-F9B2-BB24AE28DC03}"/>
              </a:ext>
            </a:extLst>
          </p:cNvPr>
          <p:cNvSpPr/>
          <p:nvPr/>
        </p:nvSpPr>
        <p:spPr>
          <a:xfrm>
            <a:off x="356694" y="3689479"/>
            <a:ext cx="1735200" cy="215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a:solidFill>
                  <a:schemeClr val="accent4"/>
                </a:solidFill>
              </a:rPr>
              <a:t>University Affairs</a:t>
            </a:r>
          </a:p>
        </p:txBody>
      </p:sp>
      <p:sp>
        <p:nvSpPr>
          <p:cNvPr id="7" name="Date Placeholder 3">
            <a:extLst>
              <a:ext uri="{FF2B5EF4-FFF2-40B4-BE49-F238E27FC236}">
                <a16:creationId xmlns:a16="http://schemas.microsoft.com/office/drawing/2014/main" id="{977C3EC5-26E4-01D9-E53C-C2C90DE3F62E}"/>
              </a:ext>
            </a:extLst>
          </p:cNvPr>
          <p:cNvSpPr txBox="1">
            <a:spLocks/>
          </p:cNvSpPr>
          <p:nvPr/>
        </p:nvSpPr>
        <p:spPr>
          <a:xfrm>
            <a:off x="357680" y="6356351"/>
            <a:ext cx="20574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Arial" panose="020B0604020202020204" pitchFamily="34" charset="0"/>
                <a:cs typeface="Arial" panose="020B0604020202020204" pitchFamily="34" charset="0"/>
              </a:rPr>
              <a:t>November 20, 2024</a:t>
            </a:r>
          </a:p>
        </p:txBody>
      </p:sp>
    </p:spTree>
    <p:extLst>
      <p:ext uri="{BB962C8B-B14F-4D97-AF65-F5344CB8AC3E}">
        <p14:creationId xmlns:p14="http://schemas.microsoft.com/office/powerpoint/2010/main" val="24445527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7A3767-4CAB-4E0E-B7AB-391B091A8FD2}"/>
              </a:ext>
            </a:extLst>
          </p:cNvPr>
          <p:cNvSpPr>
            <a:spLocks noGrp="1"/>
          </p:cNvSpPr>
          <p:nvPr>
            <p:ph type="title"/>
          </p:nvPr>
        </p:nvSpPr>
        <p:spPr/>
        <p:txBody>
          <a:bodyPr/>
          <a:lstStyle/>
          <a:p>
            <a:r>
              <a:rPr lang="en-GB" dirty="0"/>
              <a:t>Reactivate our partnerships</a:t>
            </a:r>
          </a:p>
        </p:txBody>
      </p:sp>
      <p:sp>
        <p:nvSpPr>
          <p:cNvPr id="3" name="Content Placeholder 2">
            <a:extLst>
              <a:ext uri="{FF2B5EF4-FFF2-40B4-BE49-F238E27FC236}">
                <a16:creationId xmlns:a16="http://schemas.microsoft.com/office/drawing/2014/main" id="{4D5D2912-9ABE-4E03-8B50-14F3E4170044}"/>
              </a:ext>
            </a:extLst>
          </p:cNvPr>
          <p:cNvSpPr>
            <a:spLocks noGrp="1"/>
          </p:cNvSpPr>
          <p:nvPr>
            <p:ph idx="1"/>
          </p:nvPr>
        </p:nvSpPr>
        <p:spPr>
          <a:xfrm>
            <a:off x="356695" y="1412834"/>
            <a:ext cx="8429625" cy="503577"/>
          </a:xfrm>
        </p:spPr>
        <p:txBody>
          <a:bodyPr>
            <a:normAutofit/>
          </a:bodyPr>
          <a:lstStyle/>
          <a:p>
            <a:r>
              <a:rPr lang="en-US" sz="1500" dirty="0"/>
              <a:t>Bocconi Students Fintech Society seeks </a:t>
            </a:r>
            <a:r>
              <a:rPr lang="en-US" sz="1500" dirty="0">
                <a:solidFill>
                  <a:schemeClr val="bg1">
                    <a:lumMod val="60000"/>
                    <a:lumOff val="40000"/>
                  </a:schemeClr>
                </a:solidFill>
              </a:rPr>
              <a:t>active partnerships and collaborations </a:t>
            </a:r>
            <a:r>
              <a:rPr lang="en-US" sz="1500" dirty="0"/>
              <a:t>with professional firms and established associations</a:t>
            </a:r>
            <a:endParaRPr lang="en-GB" sz="1500" dirty="0"/>
          </a:p>
        </p:txBody>
      </p:sp>
      <p:sp>
        <p:nvSpPr>
          <p:cNvPr id="5" name="Slide Number Placeholder 4">
            <a:extLst>
              <a:ext uri="{FF2B5EF4-FFF2-40B4-BE49-F238E27FC236}">
                <a16:creationId xmlns:a16="http://schemas.microsoft.com/office/drawing/2014/main" id="{0C982CB5-2EB4-4EEB-9FB0-F4230A80CC3F}"/>
              </a:ext>
            </a:extLst>
          </p:cNvPr>
          <p:cNvSpPr>
            <a:spLocks noGrp="1"/>
          </p:cNvSpPr>
          <p:nvPr>
            <p:ph type="sldNum" sz="quarter" idx="12"/>
          </p:nvPr>
        </p:nvSpPr>
        <p:spPr/>
        <p:txBody>
          <a:bodyPr/>
          <a:lstStyle/>
          <a:p>
            <a:fld id="{330EA680-D336-4FF7-8B7A-9848BB0A1C32}" type="slidenum">
              <a:rPr lang="en-US" smtClean="0"/>
              <a:pPr/>
              <a:t>14</a:t>
            </a:fld>
            <a:endParaRPr lang="en-US"/>
          </a:p>
        </p:txBody>
      </p:sp>
      <p:sp>
        <p:nvSpPr>
          <p:cNvPr id="6" name="Text Placeholder 5">
            <a:extLst>
              <a:ext uri="{FF2B5EF4-FFF2-40B4-BE49-F238E27FC236}">
                <a16:creationId xmlns:a16="http://schemas.microsoft.com/office/drawing/2014/main" id="{73A94A6B-AB41-4051-8934-D6423FCDCBE2}"/>
              </a:ext>
            </a:extLst>
          </p:cNvPr>
          <p:cNvSpPr>
            <a:spLocks noGrp="1"/>
          </p:cNvSpPr>
          <p:nvPr>
            <p:ph type="body" sz="quarter" idx="13"/>
          </p:nvPr>
        </p:nvSpPr>
        <p:spPr/>
        <p:txBody>
          <a:bodyPr>
            <a:normAutofit/>
          </a:bodyPr>
          <a:lstStyle/>
          <a:p>
            <a:r>
              <a:rPr lang="en-GB" sz="900" dirty="0"/>
              <a:t>Selected partnerships and collaborations with professional firms</a:t>
            </a:r>
          </a:p>
        </p:txBody>
      </p:sp>
      <p:sp>
        <p:nvSpPr>
          <p:cNvPr id="41" name="Rectangle: Rounded Corners 40">
            <a:extLst>
              <a:ext uri="{FF2B5EF4-FFF2-40B4-BE49-F238E27FC236}">
                <a16:creationId xmlns:a16="http://schemas.microsoft.com/office/drawing/2014/main" id="{2AC7581B-5C72-43F3-9180-0B71531B5724}"/>
              </a:ext>
            </a:extLst>
          </p:cNvPr>
          <p:cNvSpPr/>
          <p:nvPr/>
        </p:nvSpPr>
        <p:spPr>
          <a:xfrm>
            <a:off x="6119271" y="2754972"/>
            <a:ext cx="2336455" cy="710934"/>
          </a:xfrm>
          <a:prstGeom prst="roundRect">
            <a:avLst/>
          </a:prstGeom>
          <a:solidFill>
            <a:schemeClr val="bg2">
              <a:lumMod val="95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b="1">
                <a:latin typeface="Arial"/>
                <a:cs typeface="Arial"/>
              </a:rPr>
              <a:t>In the Autumn of 2020, </a:t>
            </a:r>
            <a:r>
              <a:rPr lang="en-US" sz="800" b="1" err="1">
                <a:latin typeface="Arial"/>
                <a:cs typeface="Arial"/>
              </a:rPr>
              <a:t>Consultique</a:t>
            </a:r>
            <a:r>
              <a:rPr lang="en-US" sz="800" b="1">
                <a:latin typeface="Arial"/>
                <a:cs typeface="Arial"/>
              </a:rPr>
              <a:t> SCF, an independent financial analysis consultancy, agreed to collaborate on a survey and an event about the way financial advisory is implemented in Italy</a:t>
            </a:r>
            <a:endParaRPr lang="en-CH" sz="800" b="1"/>
          </a:p>
        </p:txBody>
      </p:sp>
      <p:sp>
        <p:nvSpPr>
          <p:cNvPr id="42" name="Rectangle: Rounded Corners 41">
            <a:extLst>
              <a:ext uri="{FF2B5EF4-FFF2-40B4-BE49-F238E27FC236}">
                <a16:creationId xmlns:a16="http://schemas.microsoft.com/office/drawing/2014/main" id="{5AD41065-EA47-4E09-93F9-D8B02E85BB1B}"/>
              </a:ext>
            </a:extLst>
          </p:cNvPr>
          <p:cNvSpPr/>
          <p:nvPr/>
        </p:nvSpPr>
        <p:spPr>
          <a:xfrm>
            <a:off x="6119269" y="4587112"/>
            <a:ext cx="2336455" cy="710934"/>
          </a:xfrm>
          <a:prstGeom prst="roundRect">
            <a:avLst/>
          </a:prstGeom>
          <a:solidFill>
            <a:schemeClr val="bg2">
              <a:lumMod val="95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b="1" dirty="0">
                <a:latin typeface="Arial"/>
                <a:cs typeface="Arial"/>
              </a:rPr>
              <a:t>In the Spring of 2020, ZEB Consulting’s Italy Branch agreed to collaborate on a position paper about retail banking’s stagnating industry</a:t>
            </a:r>
            <a:endParaRPr lang="en-CH" sz="800" b="1"/>
          </a:p>
        </p:txBody>
      </p:sp>
      <p:pic>
        <p:nvPicPr>
          <p:cNvPr id="1026" name="Picture 2" descr="Logo">
            <a:extLst>
              <a:ext uri="{FF2B5EF4-FFF2-40B4-BE49-F238E27FC236}">
                <a16:creationId xmlns:a16="http://schemas.microsoft.com/office/drawing/2014/main" id="{C6F8903D-EB7E-473B-9361-CCE963A4D16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715503" y="3945156"/>
            <a:ext cx="1143000" cy="49832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ocietà di consulenza finanziaria indipendente, consulenti finanziari,  consulenti fee only, scelta strumenti finanziari">
            <a:extLst>
              <a:ext uri="{FF2B5EF4-FFF2-40B4-BE49-F238E27FC236}">
                <a16:creationId xmlns:a16="http://schemas.microsoft.com/office/drawing/2014/main" id="{6C69C25A-C16B-411F-BE9D-2F8FD7B5CDB7}"/>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450852" y="2062782"/>
            <a:ext cx="1673291" cy="60487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Borsa Italiana: sito ufficiale della Borsa di Milano - Borsa Italiana">
            <a:extLst>
              <a:ext uri="{FF2B5EF4-FFF2-40B4-BE49-F238E27FC236}">
                <a16:creationId xmlns:a16="http://schemas.microsoft.com/office/drawing/2014/main" id="{8782C643-7C16-468F-936C-6A978018724E}"/>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496717" y="2258174"/>
            <a:ext cx="1867053" cy="42415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Rounded Corners 20">
            <a:extLst>
              <a:ext uri="{FF2B5EF4-FFF2-40B4-BE49-F238E27FC236}">
                <a16:creationId xmlns:a16="http://schemas.microsoft.com/office/drawing/2014/main" id="{4B23753F-1E6B-474D-8169-257431620F05}"/>
              </a:ext>
            </a:extLst>
          </p:cNvPr>
          <p:cNvSpPr/>
          <p:nvPr/>
        </p:nvSpPr>
        <p:spPr>
          <a:xfrm>
            <a:off x="356695" y="2753729"/>
            <a:ext cx="2336455" cy="710934"/>
          </a:xfrm>
          <a:prstGeom prst="roundRect">
            <a:avLst/>
          </a:prstGeom>
          <a:solidFill>
            <a:schemeClr val="bg2">
              <a:lumMod val="95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b="1" dirty="0">
                <a:latin typeface="Arial"/>
                <a:cs typeface="Arial"/>
              </a:rPr>
              <a:t>In the Summer of 2021, </a:t>
            </a:r>
            <a:r>
              <a:rPr lang="en-US" sz="800" b="1" dirty="0" err="1">
                <a:latin typeface="Arial"/>
                <a:cs typeface="Arial"/>
              </a:rPr>
              <a:t>assoFintech</a:t>
            </a:r>
            <a:r>
              <a:rPr lang="en-US" sz="800" b="1" dirty="0">
                <a:latin typeface="Arial"/>
                <a:cs typeface="Arial"/>
              </a:rPr>
              <a:t> agreed to initiate #</a:t>
            </a:r>
            <a:r>
              <a:rPr lang="en-US" sz="800" b="1" dirty="0" err="1">
                <a:latin typeface="Arial"/>
                <a:cs typeface="Arial"/>
              </a:rPr>
              <a:t>FutureFintech</a:t>
            </a:r>
            <a:r>
              <a:rPr lang="en-US" sz="800" b="1" dirty="0">
                <a:latin typeface="Arial"/>
                <a:cs typeface="Arial"/>
              </a:rPr>
              <a:t> - aimed at an audience of young university students with the aim of enhance financial education </a:t>
            </a:r>
            <a:endParaRPr lang="en-CH" sz="800" b="1"/>
          </a:p>
        </p:txBody>
      </p:sp>
      <p:sp>
        <p:nvSpPr>
          <p:cNvPr id="22" name="Rectangle: Rounded Corners 21">
            <a:extLst>
              <a:ext uri="{FF2B5EF4-FFF2-40B4-BE49-F238E27FC236}">
                <a16:creationId xmlns:a16="http://schemas.microsoft.com/office/drawing/2014/main" id="{15CC7CEA-BEFA-4F18-9558-A244B0DFBEA1}"/>
              </a:ext>
            </a:extLst>
          </p:cNvPr>
          <p:cNvSpPr/>
          <p:nvPr/>
        </p:nvSpPr>
        <p:spPr>
          <a:xfrm>
            <a:off x="3262015" y="2776761"/>
            <a:ext cx="2336455" cy="710934"/>
          </a:xfrm>
          <a:prstGeom prst="roundRect">
            <a:avLst/>
          </a:prstGeom>
          <a:solidFill>
            <a:schemeClr val="bg2">
              <a:lumMod val="95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b="1" dirty="0">
                <a:latin typeface="Arial"/>
                <a:cs typeface="Arial"/>
              </a:rPr>
              <a:t>In the Summer of 2021, </a:t>
            </a:r>
            <a:r>
              <a:rPr lang="en-US" sz="800" b="1" dirty="0" err="1">
                <a:latin typeface="Arial"/>
                <a:cs typeface="Arial"/>
              </a:rPr>
              <a:t>Borsa</a:t>
            </a:r>
            <a:r>
              <a:rPr lang="en-US" sz="800" b="1" dirty="0">
                <a:latin typeface="Arial"/>
                <a:cs typeface="Arial"/>
              </a:rPr>
              <a:t> </a:t>
            </a:r>
            <a:r>
              <a:rPr lang="en-US" sz="800" b="1" dirty="0" err="1">
                <a:latin typeface="Arial"/>
                <a:cs typeface="Arial"/>
              </a:rPr>
              <a:t>Italiana</a:t>
            </a:r>
            <a:r>
              <a:rPr lang="en-US" sz="800" b="1" dirty="0">
                <a:latin typeface="Arial"/>
                <a:cs typeface="Arial"/>
              </a:rPr>
              <a:t> agreed to collaborate with BSFS to promote financial education on a national level</a:t>
            </a:r>
            <a:endParaRPr lang="en-CH" sz="800" b="1"/>
          </a:p>
        </p:txBody>
      </p:sp>
      <p:pic>
        <p:nvPicPr>
          <p:cNvPr id="1034" name="Picture 10" descr="Italy - ITC + DIA World Tour">
            <a:extLst>
              <a:ext uri="{FF2B5EF4-FFF2-40B4-BE49-F238E27FC236}">
                <a16:creationId xmlns:a16="http://schemas.microsoft.com/office/drawing/2014/main" id="{490D1D1C-1D9F-4AA0-92BA-501934AFEC6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42121" y="3837855"/>
            <a:ext cx="1356310" cy="60563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Rounded Corners 23">
            <a:extLst>
              <a:ext uri="{FF2B5EF4-FFF2-40B4-BE49-F238E27FC236}">
                <a16:creationId xmlns:a16="http://schemas.microsoft.com/office/drawing/2014/main" id="{3FD290D6-63DD-413F-9523-B2B2138872D0}"/>
              </a:ext>
            </a:extLst>
          </p:cNvPr>
          <p:cNvSpPr/>
          <p:nvPr/>
        </p:nvSpPr>
        <p:spPr>
          <a:xfrm>
            <a:off x="356695" y="4537922"/>
            <a:ext cx="2336455" cy="710934"/>
          </a:xfrm>
          <a:prstGeom prst="roundRect">
            <a:avLst/>
          </a:prstGeom>
          <a:solidFill>
            <a:schemeClr val="bg2">
              <a:lumMod val="95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b="1" i="0">
                <a:effectLst/>
                <a:latin typeface="Arial" panose="020B0604020202020204" pitchFamily="34" charset="0"/>
                <a:cs typeface="Arial" panose="020B0604020202020204" pitchFamily="34" charset="0"/>
              </a:rPr>
              <a:t>In the Spring of 2021, BSFS began collaborating with IIA for the publication of IIA’s monthly newsletter and the content creation related to the </a:t>
            </a:r>
            <a:r>
              <a:rPr lang="en-US" sz="800" b="1" i="0" err="1">
                <a:effectLst/>
                <a:latin typeface="Arial" panose="020B0604020202020204" pitchFamily="34" charset="0"/>
                <a:cs typeface="Arial" panose="020B0604020202020204" pitchFamily="34" charset="0"/>
              </a:rPr>
              <a:t>insurtech</a:t>
            </a:r>
            <a:r>
              <a:rPr lang="en-US" sz="800" b="1" i="0">
                <a:effectLst/>
                <a:latin typeface="Arial" panose="020B0604020202020204" pitchFamily="34" charset="0"/>
                <a:cs typeface="Arial" panose="020B0604020202020204" pitchFamily="34" charset="0"/>
              </a:rPr>
              <a:t> ecosystem</a:t>
            </a:r>
          </a:p>
        </p:txBody>
      </p:sp>
      <p:pic>
        <p:nvPicPr>
          <p:cNvPr id="4" name="Picture 2" descr="Strategia di Brand - UniCredit">
            <a:extLst>
              <a:ext uri="{FF2B5EF4-FFF2-40B4-BE49-F238E27FC236}">
                <a16:creationId xmlns:a16="http://schemas.microsoft.com/office/drawing/2014/main" id="{8D6E4347-3272-4A06-818F-87045BD1ECD7}"/>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325256" y="3723264"/>
            <a:ext cx="2209972" cy="95357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Rounded Corners 16">
            <a:extLst>
              <a:ext uri="{FF2B5EF4-FFF2-40B4-BE49-F238E27FC236}">
                <a16:creationId xmlns:a16="http://schemas.microsoft.com/office/drawing/2014/main" id="{32871E0A-3527-4988-9FCB-2B01B7ADA261}"/>
              </a:ext>
            </a:extLst>
          </p:cNvPr>
          <p:cNvSpPr/>
          <p:nvPr/>
        </p:nvSpPr>
        <p:spPr>
          <a:xfrm>
            <a:off x="3262014" y="4543653"/>
            <a:ext cx="2336455" cy="710934"/>
          </a:xfrm>
          <a:prstGeom prst="roundRect">
            <a:avLst/>
          </a:prstGeom>
          <a:solidFill>
            <a:schemeClr val="bg2">
              <a:lumMod val="95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800" b="1" i="0" dirty="0">
                <a:effectLst/>
                <a:latin typeface="Arial" panose="020B0604020202020204" pitchFamily="34" charset="0"/>
                <a:cs typeface="Arial" panose="020B0604020202020204" pitchFamily="34" charset="0"/>
              </a:rPr>
              <a:t>We launched a partnership with UniCredit where we scout European Fintech startups in order to organize a “Demo Day” where they pitch. </a:t>
            </a:r>
          </a:p>
        </p:txBody>
      </p:sp>
      <p:pic>
        <p:nvPicPr>
          <p:cNvPr id="4098" name="Picture 2" descr="Homepage - AssoFintech">
            <a:extLst>
              <a:ext uri="{FF2B5EF4-FFF2-40B4-BE49-F238E27FC236}">
                <a16:creationId xmlns:a16="http://schemas.microsoft.com/office/drawing/2014/main" id="{9E4A036E-02E0-2B74-DFF2-7AB44067323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572" t="6887" r="10553" b="19345"/>
          <a:stretch/>
        </p:blipFill>
        <p:spPr bwMode="auto">
          <a:xfrm>
            <a:off x="424066" y="1864800"/>
            <a:ext cx="2196934" cy="888929"/>
          </a:xfrm>
          <a:prstGeom prst="rect">
            <a:avLst/>
          </a:prstGeom>
          <a:noFill/>
          <a:extLst>
            <a:ext uri="{909E8E84-426E-40DD-AFC4-6F175D3DCCD1}">
              <a14:hiddenFill xmlns:a14="http://schemas.microsoft.com/office/drawing/2010/main">
                <a:solidFill>
                  <a:srgbClr val="FFFFFF"/>
                </a:solidFill>
              </a14:hiddenFill>
            </a:ext>
          </a:extLst>
        </p:spPr>
      </p:pic>
      <p:sp>
        <p:nvSpPr>
          <p:cNvPr id="7" name="Date Placeholder 3">
            <a:extLst>
              <a:ext uri="{FF2B5EF4-FFF2-40B4-BE49-F238E27FC236}">
                <a16:creationId xmlns:a16="http://schemas.microsoft.com/office/drawing/2014/main" id="{CD17AE84-FB5F-C070-0DD1-6CDD1AAEEDA2}"/>
              </a:ext>
            </a:extLst>
          </p:cNvPr>
          <p:cNvSpPr txBox="1">
            <a:spLocks/>
          </p:cNvSpPr>
          <p:nvPr/>
        </p:nvSpPr>
        <p:spPr>
          <a:xfrm>
            <a:off x="357680" y="6356351"/>
            <a:ext cx="20574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Arial" panose="020B0604020202020204" pitchFamily="34" charset="0"/>
                <a:cs typeface="Arial" panose="020B0604020202020204" pitchFamily="34" charset="0"/>
              </a:rPr>
              <a:t>November 20, 2024</a:t>
            </a:r>
          </a:p>
        </p:txBody>
      </p:sp>
    </p:spTree>
    <p:extLst>
      <p:ext uri="{BB962C8B-B14F-4D97-AF65-F5344CB8AC3E}">
        <p14:creationId xmlns:p14="http://schemas.microsoft.com/office/powerpoint/2010/main" val="7937017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EE4C3D0-AD4F-8884-75AC-79E97FBBBDDA}"/>
              </a:ext>
            </a:extLst>
          </p:cNvPr>
          <p:cNvSpPr/>
          <p:nvPr/>
        </p:nvSpPr>
        <p:spPr>
          <a:xfrm>
            <a:off x="0" y="1"/>
            <a:ext cx="9144000" cy="6858000"/>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T" dirty="0"/>
              <a:t>C</a:t>
            </a:r>
          </a:p>
        </p:txBody>
      </p:sp>
      <p:pic>
        <p:nvPicPr>
          <p:cNvPr id="2050" name="Picture 2" descr="Bocconi Campus VR">
            <a:extLst>
              <a:ext uri="{FF2B5EF4-FFF2-40B4-BE49-F238E27FC236}">
                <a16:creationId xmlns:a16="http://schemas.microsoft.com/office/drawing/2014/main" id="{C231DC4F-F798-7931-2292-4D68E07E4612}"/>
              </a:ext>
            </a:extLst>
          </p:cNvPr>
          <p:cNvPicPr>
            <a:picLocks noChangeAspect="1" noChangeArrowheads="1"/>
          </p:cNvPicPr>
          <p:nvPr/>
        </p:nvPicPr>
        <p:blipFill rotWithShape="1">
          <a:blip r:embed="rId2">
            <a:alphaModFix amt="66000"/>
            <a:extLst>
              <a:ext uri="{28A0092B-C50C-407E-A947-70E740481C1C}">
                <a14:useLocalDpi xmlns:a14="http://schemas.microsoft.com/office/drawing/2010/main" val="0"/>
              </a:ext>
            </a:extLst>
          </a:blip>
          <a:srcRect l="10317" r="11678" b="12130"/>
          <a:stretch/>
        </p:blipFill>
        <p:spPr bwMode="auto">
          <a:xfrm>
            <a:off x="0" y="0"/>
            <a:ext cx="9144000" cy="6857999"/>
          </a:xfrm>
          <a:prstGeom prst="rect">
            <a:avLst/>
          </a:prstGeom>
          <a:noFill/>
        </p:spPr>
      </p:pic>
      <p:sp>
        <p:nvSpPr>
          <p:cNvPr id="9" name="TextBox 8">
            <a:extLst>
              <a:ext uri="{FF2B5EF4-FFF2-40B4-BE49-F238E27FC236}">
                <a16:creationId xmlns:a16="http://schemas.microsoft.com/office/drawing/2014/main" id="{80BD7497-12A0-2286-8155-307682FF0974}"/>
              </a:ext>
            </a:extLst>
          </p:cNvPr>
          <p:cNvSpPr txBox="1"/>
          <p:nvPr/>
        </p:nvSpPr>
        <p:spPr>
          <a:xfrm>
            <a:off x="2723321" y="2659558"/>
            <a:ext cx="3697357" cy="769441"/>
          </a:xfrm>
          <a:prstGeom prst="rect">
            <a:avLst/>
          </a:prstGeom>
          <a:noFill/>
          <a:effectLst>
            <a:outerShdw blurRad="50800" dist="50800" dir="4320000" algn="ctr" rotWithShape="0">
              <a:srgbClr val="000000">
                <a:alpha val="43137"/>
              </a:srgbClr>
            </a:outerShdw>
          </a:effectLst>
        </p:spPr>
        <p:txBody>
          <a:bodyPr wrap="square" rtlCol="0">
            <a:spAutoFit/>
          </a:bodyPr>
          <a:lstStyle/>
          <a:p>
            <a:r>
              <a:rPr lang="en-IT" sz="4400" b="1" dirty="0">
                <a:solidFill>
                  <a:schemeClr val="bg2"/>
                </a:solidFill>
                <a:latin typeface="BODONI 72 BOOK" pitchFamily="2" charset="0"/>
              </a:rPr>
              <a:t>M&amp;A Division</a:t>
            </a:r>
          </a:p>
        </p:txBody>
      </p:sp>
    </p:spTree>
    <p:extLst>
      <p:ext uri="{BB962C8B-B14F-4D97-AF65-F5344CB8AC3E}">
        <p14:creationId xmlns:p14="http://schemas.microsoft.com/office/powerpoint/2010/main" val="27577050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C552CA-F055-09B1-7E59-4F98DCB7D65D}"/>
              </a:ext>
            </a:extLst>
          </p:cNvPr>
          <p:cNvSpPr>
            <a:spLocks noGrp="1"/>
          </p:cNvSpPr>
          <p:nvPr>
            <p:ph type="title"/>
          </p:nvPr>
        </p:nvSpPr>
        <p:spPr/>
        <p:txBody>
          <a:bodyPr/>
          <a:lstStyle/>
          <a:p>
            <a:r>
              <a:rPr lang="en-US" dirty="0"/>
              <a:t>M&amp;A: </a:t>
            </a:r>
            <a:r>
              <a:rPr lang="en-US" dirty="0" err="1"/>
              <a:t>Secureworks</a:t>
            </a:r>
            <a:r>
              <a:rPr lang="en-US" dirty="0"/>
              <a:t> acquired by Sophos</a:t>
            </a:r>
            <a:endParaRPr lang="en-IT" dirty="0"/>
          </a:p>
        </p:txBody>
      </p:sp>
      <p:sp>
        <p:nvSpPr>
          <p:cNvPr id="5" name="Slide Number Placeholder 4">
            <a:extLst>
              <a:ext uri="{FF2B5EF4-FFF2-40B4-BE49-F238E27FC236}">
                <a16:creationId xmlns:a16="http://schemas.microsoft.com/office/drawing/2014/main" id="{CFA3B188-A996-EAC9-6C66-3077F0385A81}"/>
              </a:ext>
            </a:extLst>
          </p:cNvPr>
          <p:cNvSpPr>
            <a:spLocks noGrp="1"/>
          </p:cNvSpPr>
          <p:nvPr>
            <p:ph type="sldNum" sz="quarter" idx="12"/>
          </p:nvPr>
        </p:nvSpPr>
        <p:spPr/>
        <p:txBody>
          <a:bodyPr/>
          <a:lstStyle/>
          <a:p>
            <a:fld id="{330EA680-D336-4FF7-8B7A-9848BB0A1C32}" type="slidenum">
              <a:rPr lang="en-US" smtClean="0"/>
              <a:pPr/>
              <a:t>16</a:t>
            </a:fld>
            <a:endParaRPr lang="en-US"/>
          </a:p>
        </p:txBody>
      </p:sp>
      <p:sp>
        <p:nvSpPr>
          <p:cNvPr id="6" name="Text Placeholder 5">
            <a:extLst>
              <a:ext uri="{FF2B5EF4-FFF2-40B4-BE49-F238E27FC236}">
                <a16:creationId xmlns:a16="http://schemas.microsoft.com/office/drawing/2014/main" id="{3D46379F-8D84-5918-D988-65F9DD1EB7FF}"/>
              </a:ext>
            </a:extLst>
          </p:cNvPr>
          <p:cNvSpPr>
            <a:spLocks noGrp="1"/>
          </p:cNvSpPr>
          <p:nvPr>
            <p:ph type="body" sz="quarter" idx="13"/>
          </p:nvPr>
        </p:nvSpPr>
        <p:spPr/>
        <p:txBody>
          <a:bodyPr/>
          <a:lstStyle/>
          <a:p>
            <a:endParaRPr lang="en-IT" dirty="0"/>
          </a:p>
        </p:txBody>
      </p:sp>
      <p:sp>
        <p:nvSpPr>
          <p:cNvPr id="20" name="Content Placeholder 6">
            <a:extLst>
              <a:ext uri="{FF2B5EF4-FFF2-40B4-BE49-F238E27FC236}">
                <a16:creationId xmlns:a16="http://schemas.microsoft.com/office/drawing/2014/main" id="{C180433C-EE02-762C-CE0C-634202ACC4B4}"/>
              </a:ext>
            </a:extLst>
          </p:cNvPr>
          <p:cNvSpPr>
            <a:spLocks noGrp="1"/>
          </p:cNvSpPr>
          <p:nvPr>
            <p:ph idx="14"/>
          </p:nvPr>
        </p:nvSpPr>
        <p:spPr>
          <a:xfrm>
            <a:off x="592394" y="1678041"/>
            <a:ext cx="3785708" cy="2535111"/>
          </a:xfrm>
        </p:spPr>
        <p:txBody>
          <a:bodyPr>
            <a:noAutofit/>
          </a:bodyPr>
          <a:lstStyle/>
          <a:p>
            <a:pPr algn="l">
              <a:buFont typeface="Arial" panose="020B0604020202020204" pitchFamily="34" charset="0"/>
              <a:buChar char="•"/>
            </a:pPr>
            <a:r>
              <a:rPr lang="en-GB" sz="1200" b="1" i="0" u="none" strike="noStrike" dirty="0">
                <a:solidFill>
                  <a:srgbClr val="242424"/>
                </a:solidFill>
                <a:effectLst/>
              </a:rPr>
              <a:t> Deal Value:</a:t>
            </a:r>
            <a:r>
              <a:rPr lang="en-GB" sz="1200" b="0" i="0" u="none" strike="noStrike" dirty="0">
                <a:solidFill>
                  <a:srgbClr val="242424"/>
                </a:solidFill>
                <a:effectLst/>
              </a:rPr>
              <a:t> ~$860 million</a:t>
            </a:r>
          </a:p>
          <a:p>
            <a:pPr algn="l">
              <a:buFont typeface="Arial" panose="020B0604020202020204" pitchFamily="34" charset="0"/>
              <a:buChar char="•"/>
            </a:pPr>
            <a:r>
              <a:rPr lang="en-GB" sz="1200" b="1" i="0" u="none" strike="noStrike" dirty="0">
                <a:solidFill>
                  <a:srgbClr val="242424"/>
                </a:solidFill>
                <a:effectLst/>
              </a:rPr>
              <a:t> Date:</a:t>
            </a:r>
            <a:r>
              <a:rPr lang="en-GB" sz="1200" b="0" i="0" u="none" strike="noStrike" dirty="0">
                <a:solidFill>
                  <a:srgbClr val="242424"/>
                </a:solidFill>
                <a:effectLst/>
              </a:rPr>
              <a:t> October 2024</a:t>
            </a:r>
          </a:p>
          <a:p>
            <a:pPr algn="l">
              <a:buFont typeface="Arial" panose="020B0604020202020204" pitchFamily="34" charset="0"/>
              <a:buChar char="•"/>
            </a:pPr>
            <a:r>
              <a:rPr lang="en-GB" sz="1200" b="1" i="0" u="none" strike="noStrike" dirty="0">
                <a:solidFill>
                  <a:srgbClr val="242424"/>
                </a:solidFill>
                <a:effectLst/>
              </a:rPr>
              <a:t> Target Company:</a:t>
            </a:r>
            <a:r>
              <a:rPr lang="en-GB" sz="1200" b="0" i="0" u="none" strike="noStrike" dirty="0">
                <a:solidFill>
                  <a:srgbClr val="242424"/>
                </a:solidFill>
                <a:effectLst/>
              </a:rPr>
              <a:t> </a:t>
            </a:r>
            <a:r>
              <a:rPr lang="en-GB" sz="1200" b="0" i="0" u="none" strike="noStrike" dirty="0" err="1">
                <a:solidFill>
                  <a:srgbClr val="242424"/>
                </a:solidFill>
                <a:effectLst/>
              </a:rPr>
              <a:t>Secureworks</a:t>
            </a:r>
            <a:r>
              <a:rPr lang="en-GB" sz="1200" b="0" i="0" u="none" strike="noStrike" dirty="0">
                <a:solidFill>
                  <a:srgbClr val="242424"/>
                </a:solidFill>
                <a:effectLst/>
              </a:rPr>
              <a:t> (NASDAQ: SCWX)</a:t>
            </a:r>
          </a:p>
          <a:p>
            <a:pPr algn="l">
              <a:buFont typeface="Arial" panose="020B0604020202020204" pitchFamily="34" charset="0"/>
              <a:buChar char="•"/>
            </a:pPr>
            <a:r>
              <a:rPr lang="en-GB" sz="1200" b="1" i="0" u="none" strike="noStrike" dirty="0">
                <a:solidFill>
                  <a:srgbClr val="242424"/>
                </a:solidFill>
                <a:effectLst/>
              </a:rPr>
              <a:t>Acquirer:</a:t>
            </a:r>
            <a:r>
              <a:rPr lang="en-GB" sz="1200" b="0" i="0" u="none" strike="noStrike" dirty="0">
                <a:solidFill>
                  <a:srgbClr val="242424"/>
                </a:solidFill>
                <a:effectLst/>
              </a:rPr>
              <a:t> Sophos</a:t>
            </a:r>
          </a:p>
        </p:txBody>
      </p:sp>
      <p:sp>
        <p:nvSpPr>
          <p:cNvPr id="21" name="Content Placeholder 2">
            <a:extLst>
              <a:ext uri="{FF2B5EF4-FFF2-40B4-BE49-F238E27FC236}">
                <a16:creationId xmlns:a16="http://schemas.microsoft.com/office/drawing/2014/main" id="{B426D2AB-E390-CFB0-238A-E14956850A20}"/>
              </a:ext>
            </a:extLst>
          </p:cNvPr>
          <p:cNvSpPr>
            <a:spLocks noGrp="1"/>
          </p:cNvSpPr>
          <p:nvPr>
            <p:ph idx="1"/>
          </p:nvPr>
        </p:nvSpPr>
        <p:spPr>
          <a:xfrm>
            <a:off x="605727" y="1262853"/>
            <a:ext cx="3624361" cy="425450"/>
          </a:xfrm>
        </p:spPr>
        <p:txBody>
          <a:bodyPr>
            <a:normAutofit/>
          </a:bodyPr>
          <a:lstStyle/>
          <a:p>
            <a:r>
              <a:rPr lang="en-US" sz="1600" dirty="0"/>
              <a:t>Deal Overview:</a:t>
            </a:r>
          </a:p>
        </p:txBody>
      </p:sp>
      <p:grpSp>
        <p:nvGrpSpPr>
          <p:cNvPr id="22" name="Group 21">
            <a:extLst>
              <a:ext uri="{FF2B5EF4-FFF2-40B4-BE49-F238E27FC236}">
                <a16:creationId xmlns:a16="http://schemas.microsoft.com/office/drawing/2014/main" id="{C508B37E-153D-1D2B-86C7-9D430D1FCB48}"/>
              </a:ext>
            </a:extLst>
          </p:cNvPr>
          <p:cNvGrpSpPr/>
          <p:nvPr/>
        </p:nvGrpSpPr>
        <p:grpSpPr>
          <a:xfrm>
            <a:off x="547230" y="2968980"/>
            <a:ext cx="3850941" cy="1262962"/>
            <a:chOff x="356693" y="3840889"/>
            <a:chExt cx="3850941" cy="1262962"/>
          </a:xfrm>
        </p:grpSpPr>
        <p:sp>
          <p:nvSpPr>
            <p:cNvPr id="24" name="Content Placeholder 2">
              <a:extLst>
                <a:ext uri="{FF2B5EF4-FFF2-40B4-BE49-F238E27FC236}">
                  <a16:creationId xmlns:a16="http://schemas.microsoft.com/office/drawing/2014/main" id="{5E3CD20A-9B3E-7793-7272-C9D83F3C0B4B}"/>
                </a:ext>
              </a:extLst>
            </p:cNvPr>
            <p:cNvSpPr txBox="1">
              <a:spLocks/>
            </p:cNvSpPr>
            <p:nvPr/>
          </p:nvSpPr>
          <p:spPr>
            <a:xfrm>
              <a:off x="356693" y="3840889"/>
              <a:ext cx="3624361"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arget Company Profile: </a:t>
              </a:r>
            </a:p>
          </p:txBody>
        </p:sp>
        <p:sp>
          <p:nvSpPr>
            <p:cNvPr id="25" name="Content Placeholder 6">
              <a:extLst>
                <a:ext uri="{FF2B5EF4-FFF2-40B4-BE49-F238E27FC236}">
                  <a16:creationId xmlns:a16="http://schemas.microsoft.com/office/drawing/2014/main" id="{B1DA9D56-786C-AB8B-7052-D98651CC851B}"/>
                </a:ext>
              </a:extLst>
            </p:cNvPr>
            <p:cNvSpPr txBox="1">
              <a:spLocks/>
            </p:cNvSpPr>
            <p:nvPr/>
          </p:nvSpPr>
          <p:spPr>
            <a:xfrm>
              <a:off x="381789" y="4196080"/>
              <a:ext cx="3825845" cy="90777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Font typeface="Arial" panose="020B0604020202020204" pitchFamily="34" charset="0"/>
                <a:buChar char="•"/>
              </a:pPr>
              <a:r>
                <a:rPr lang="en-GB" sz="1200" b="1" i="0" u="none" strike="noStrike" dirty="0">
                  <a:solidFill>
                    <a:srgbClr val="242424"/>
                  </a:solidFill>
                  <a:effectLst/>
                </a:rPr>
                <a:t> Industry:</a:t>
              </a:r>
              <a:r>
                <a:rPr lang="en-GB" sz="1200" b="0" i="0" u="none" strike="noStrike" dirty="0">
                  <a:solidFill>
                    <a:srgbClr val="242424"/>
                  </a:solidFill>
                  <a:effectLst/>
                </a:rPr>
                <a:t> Cybersecurity</a:t>
              </a:r>
            </a:p>
            <a:p>
              <a:pPr algn="l">
                <a:buFont typeface="Arial" panose="020B0604020202020204" pitchFamily="34" charset="0"/>
                <a:buChar char="•"/>
              </a:pPr>
              <a:r>
                <a:rPr lang="en-GB" sz="1200" b="1" i="0" u="none" strike="noStrike" dirty="0">
                  <a:solidFill>
                    <a:srgbClr val="242424"/>
                  </a:solidFill>
                  <a:effectLst/>
                </a:rPr>
                <a:t> Specialization:</a:t>
              </a:r>
              <a:r>
                <a:rPr lang="en-GB" sz="1200" b="0" i="0" u="none" strike="noStrike" dirty="0">
                  <a:solidFill>
                    <a:srgbClr val="242424"/>
                  </a:solidFill>
                  <a:effectLst/>
                </a:rPr>
                <a:t> Security and resilience solutions for global organizations</a:t>
              </a:r>
            </a:p>
            <a:p>
              <a:pPr>
                <a:lnSpc>
                  <a:spcPct val="100000"/>
                </a:lnSpc>
                <a:spcBef>
                  <a:spcPts val="0"/>
                </a:spcBef>
              </a:pPr>
              <a:endParaRPr lang="en-US" sz="1200" dirty="0"/>
            </a:p>
          </p:txBody>
        </p:sp>
      </p:grpSp>
      <p:grpSp>
        <p:nvGrpSpPr>
          <p:cNvPr id="26" name="Group 25">
            <a:extLst>
              <a:ext uri="{FF2B5EF4-FFF2-40B4-BE49-F238E27FC236}">
                <a16:creationId xmlns:a16="http://schemas.microsoft.com/office/drawing/2014/main" id="{9D5FEE24-AF1D-EC69-650F-CBC4ED3AEA38}"/>
              </a:ext>
            </a:extLst>
          </p:cNvPr>
          <p:cNvGrpSpPr/>
          <p:nvPr/>
        </p:nvGrpSpPr>
        <p:grpSpPr>
          <a:xfrm>
            <a:off x="605728" y="4267803"/>
            <a:ext cx="3850936" cy="2097735"/>
            <a:chOff x="356695" y="5065525"/>
            <a:chExt cx="3850936" cy="2097735"/>
          </a:xfrm>
        </p:grpSpPr>
        <p:sp>
          <p:nvSpPr>
            <p:cNvPr id="27" name="Content Placeholder 2">
              <a:extLst>
                <a:ext uri="{FF2B5EF4-FFF2-40B4-BE49-F238E27FC236}">
                  <a16:creationId xmlns:a16="http://schemas.microsoft.com/office/drawing/2014/main" id="{57E0BC45-92D7-B68F-95E3-23DE7171469B}"/>
                </a:ext>
              </a:extLst>
            </p:cNvPr>
            <p:cNvSpPr txBox="1">
              <a:spLocks/>
            </p:cNvSpPr>
            <p:nvPr/>
          </p:nvSpPr>
          <p:spPr>
            <a:xfrm>
              <a:off x="356695" y="5065525"/>
              <a:ext cx="3624361"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eam members</a:t>
              </a:r>
            </a:p>
          </p:txBody>
        </p:sp>
        <p:sp>
          <p:nvSpPr>
            <p:cNvPr id="28" name="Content Placeholder 6">
              <a:extLst>
                <a:ext uri="{FF2B5EF4-FFF2-40B4-BE49-F238E27FC236}">
                  <a16:creationId xmlns:a16="http://schemas.microsoft.com/office/drawing/2014/main" id="{681BCDA3-AF3C-887D-5AE8-B5AF0FE770CC}"/>
                </a:ext>
              </a:extLst>
            </p:cNvPr>
            <p:cNvSpPr txBox="1">
              <a:spLocks/>
            </p:cNvSpPr>
            <p:nvPr/>
          </p:nvSpPr>
          <p:spPr>
            <a:xfrm>
              <a:off x="381786" y="5395229"/>
              <a:ext cx="3825845" cy="176803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200" b="1" dirty="0"/>
                <a:t>- 3 to 4 </a:t>
              </a:r>
              <a:r>
                <a:rPr lang="en-US" sz="1200" dirty="0"/>
                <a:t>students maximum</a:t>
              </a:r>
            </a:p>
            <a:p>
              <a:pPr>
                <a:lnSpc>
                  <a:spcPct val="100000"/>
                </a:lnSpc>
                <a:spcBef>
                  <a:spcPts val="0"/>
                </a:spcBef>
              </a:pPr>
              <a:r>
                <a:rPr lang="en-US" sz="1200" dirty="0"/>
                <a:t>- </a:t>
              </a:r>
              <a:r>
                <a:rPr lang="en-US" sz="1200" dirty="0">
                  <a:solidFill>
                    <a:srgbClr val="000000"/>
                  </a:solidFill>
                </a:rPr>
                <a:t>Individuals who are interested in M&amp;A analysis and cybersecurity. </a:t>
              </a:r>
            </a:p>
            <a:p>
              <a:pPr>
                <a:lnSpc>
                  <a:spcPct val="100000"/>
                </a:lnSpc>
                <a:spcBef>
                  <a:spcPts val="0"/>
                </a:spcBef>
              </a:pPr>
              <a:endParaRPr lang="en-US" sz="1200" dirty="0"/>
            </a:p>
          </p:txBody>
        </p:sp>
      </p:grpSp>
      <p:grpSp>
        <p:nvGrpSpPr>
          <p:cNvPr id="29" name="Group 28">
            <a:extLst>
              <a:ext uri="{FF2B5EF4-FFF2-40B4-BE49-F238E27FC236}">
                <a16:creationId xmlns:a16="http://schemas.microsoft.com/office/drawing/2014/main" id="{77A39FF8-772E-E67C-E2AC-1BB7F99A6B54}"/>
              </a:ext>
            </a:extLst>
          </p:cNvPr>
          <p:cNvGrpSpPr/>
          <p:nvPr/>
        </p:nvGrpSpPr>
        <p:grpSpPr>
          <a:xfrm>
            <a:off x="4577643" y="1310077"/>
            <a:ext cx="3732604" cy="2118923"/>
            <a:chOff x="4577643" y="1310077"/>
            <a:chExt cx="3732604" cy="2118923"/>
          </a:xfrm>
        </p:grpSpPr>
        <p:sp>
          <p:nvSpPr>
            <p:cNvPr id="30" name="Content Placeholder 6">
              <a:extLst>
                <a:ext uri="{FF2B5EF4-FFF2-40B4-BE49-F238E27FC236}">
                  <a16:creationId xmlns:a16="http://schemas.microsoft.com/office/drawing/2014/main" id="{74C78162-8789-B2C8-BEAB-CB8071E041BC}"/>
                </a:ext>
              </a:extLst>
            </p:cNvPr>
            <p:cNvSpPr txBox="1">
              <a:spLocks/>
            </p:cNvSpPr>
            <p:nvPr/>
          </p:nvSpPr>
          <p:spPr>
            <a:xfrm>
              <a:off x="4637230" y="1660969"/>
              <a:ext cx="3673017" cy="176803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Font typeface="Arial" panose="020B0604020202020204" pitchFamily="34" charset="0"/>
                <a:buChar char="•"/>
              </a:pPr>
              <a:r>
                <a:rPr lang="en-GB" sz="1200" b="1" i="0" u="none" strike="noStrike" dirty="0">
                  <a:solidFill>
                    <a:srgbClr val="242424"/>
                  </a:solidFill>
                  <a:effectLst/>
                </a:rPr>
                <a:t> Strategic Integration:</a:t>
              </a:r>
              <a:r>
                <a:rPr lang="en-GB" sz="1200" b="0" i="0" u="none" strike="noStrike" dirty="0">
                  <a:solidFill>
                    <a:srgbClr val="242424"/>
                  </a:solidFill>
                  <a:effectLst/>
                </a:rPr>
                <a:t> Sophos aims to integrate </a:t>
              </a:r>
              <a:r>
                <a:rPr lang="en-GB" sz="1200" b="0" i="0" u="none" strike="noStrike" dirty="0" err="1">
                  <a:solidFill>
                    <a:srgbClr val="242424"/>
                  </a:solidFill>
                  <a:effectLst/>
                </a:rPr>
                <a:t>Secureworks</a:t>
              </a:r>
              <a:r>
                <a:rPr lang="en-GB" sz="1200" b="0" i="0" u="none" strike="noStrike" dirty="0">
                  <a:solidFill>
                    <a:srgbClr val="242424"/>
                  </a:solidFill>
                  <a:effectLst/>
                </a:rPr>
                <a:t>' services to enhance its cybersecurity offerings.</a:t>
              </a:r>
            </a:p>
            <a:p>
              <a:pPr algn="l">
                <a:buFont typeface="Arial" panose="020B0604020202020204" pitchFamily="34" charset="0"/>
                <a:buChar char="•"/>
              </a:pPr>
              <a:r>
                <a:rPr lang="en-GB" sz="1200" b="1" i="0" u="none" strike="noStrike" dirty="0">
                  <a:solidFill>
                    <a:srgbClr val="242424"/>
                  </a:solidFill>
                  <a:effectLst/>
                </a:rPr>
                <a:t> Strengthening Capabilities:</a:t>
              </a:r>
              <a:r>
                <a:rPr lang="en-GB" sz="1200" b="0" i="0" u="none" strike="noStrike" dirty="0">
                  <a:solidFill>
                    <a:srgbClr val="242424"/>
                  </a:solidFill>
                  <a:effectLst/>
                </a:rPr>
                <a:t> The acquisition is intended to bolster the security and resilience of organizations of varying sizes.</a:t>
              </a:r>
            </a:p>
            <a:p>
              <a:br>
                <a:rPr lang="en-GB" sz="1200" dirty="0"/>
              </a:br>
              <a:endParaRPr lang="en-US" sz="1200" dirty="0"/>
            </a:p>
          </p:txBody>
        </p:sp>
        <p:sp>
          <p:nvSpPr>
            <p:cNvPr id="31" name="Content Placeholder 2">
              <a:extLst>
                <a:ext uri="{FF2B5EF4-FFF2-40B4-BE49-F238E27FC236}">
                  <a16:creationId xmlns:a16="http://schemas.microsoft.com/office/drawing/2014/main" id="{8F717799-3FC8-F64F-3582-69D705F9B9AA}"/>
                </a:ext>
              </a:extLst>
            </p:cNvPr>
            <p:cNvSpPr txBox="1">
              <a:spLocks/>
            </p:cNvSpPr>
            <p:nvPr/>
          </p:nvSpPr>
          <p:spPr>
            <a:xfrm>
              <a:off x="4577643" y="1310077"/>
              <a:ext cx="3624361"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i="0" u="none" strike="noStrike" dirty="0">
                  <a:effectLst/>
                </a:rPr>
                <a:t>Deal Rationale :</a:t>
              </a:r>
              <a:endParaRPr lang="en-US" sz="1600" dirty="0"/>
            </a:p>
          </p:txBody>
        </p:sp>
      </p:grpSp>
      <p:pic>
        <p:nvPicPr>
          <p:cNvPr id="32" name="Picture 4" descr="To Our Customers and Partners | Secureworks">
            <a:extLst>
              <a:ext uri="{FF2B5EF4-FFF2-40B4-BE49-F238E27FC236}">
                <a16:creationId xmlns:a16="http://schemas.microsoft.com/office/drawing/2014/main" id="{23FB18FB-B585-4800-2F71-8626D64406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7337" y="3339824"/>
            <a:ext cx="3682497" cy="1933311"/>
          </a:xfrm>
          <a:prstGeom prst="rect">
            <a:avLst/>
          </a:prstGeom>
          <a:noFill/>
          <a:extLst>
            <a:ext uri="{909E8E84-426E-40DD-AFC4-6F175D3DCCD1}">
              <a14:hiddenFill xmlns:a14="http://schemas.microsoft.com/office/drawing/2010/main">
                <a:solidFill>
                  <a:srgbClr val="FFFFFF"/>
                </a:solidFill>
              </a14:hiddenFill>
            </a:ext>
          </a:extLst>
        </p:spPr>
      </p:pic>
      <p:sp>
        <p:nvSpPr>
          <p:cNvPr id="3" name="Date Placeholder 3">
            <a:extLst>
              <a:ext uri="{FF2B5EF4-FFF2-40B4-BE49-F238E27FC236}">
                <a16:creationId xmlns:a16="http://schemas.microsoft.com/office/drawing/2014/main" id="{D65FFF38-A8B0-6C29-CD74-4F052168976D}"/>
              </a:ext>
            </a:extLst>
          </p:cNvPr>
          <p:cNvSpPr txBox="1">
            <a:spLocks/>
          </p:cNvSpPr>
          <p:nvPr/>
        </p:nvSpPr>
        <p:spPr>
          <a:xfrm>
            <a:off x="357680" y="6356351"/>
            <a:ext cx="20574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Arial" panose="020B0604020202020204" pitchFamily="34" charset="0"/>
                <a:cs typeface="Arial" panose="020B0604020202020204" pitchFamily="34" charset="0"/>
              </a:rPr>
              <a:t>November 20, 2024</a:t>
            </a:r>
          </a:p>
        </p:txBody>
      </p:sp>
    </p:spTree>
    <p:extLst>
      <p:ext uri="{BB962C8B-B14F-4D97-AF65-F5344CB8AC3E}">
        <p14:creationId xmlns:p14="http://schemas.microsoft.com/office/powerpoint/2010/main" val="824243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C552CA-F055-09B1-7E59-4F98DCB7D65D}"/>
              </a:ext>
            </a:extLst>
          </p:cNvPr>
          <p:cNvSpPr>
            <a:spLocks noGrp="1"/>
          </p:cNvSpPr>
          <p:nvPr>
            <p:ph type="title"/>
          </p:nvPr>
        </p:nvSpPr>
        <p:spPr/>
        <p:txBody>
          <a:bodyPr/>
          <a:lstStyle/>
          <a:p>
            <a:r>
              <a:rPr lang="en-US" dirty="0"/>
              <a:t>M&amp;A: 2024 Fintech M&amp;A Trends Update</a:t>
            </a:r>
            <a:endParaRPr lang="en-IT" dirty="0"/>
          </a:p>
        </p:txBody>
      </p:sp>
      <p:sp>
        <p:nvSpPr>
          <p:cNvPr id="5" name="Slide Number Placeholder 4">
            <a:extLst>
              <a:ext uri="{FF2B5EF4-FFF2-40B4-BE49-F238E27FC236}">
                <a16:creationId xmlns:a16="http://schemas.microsoft.com/office/drawing/2014/main" id="{CFA3B188-A996-EAC9-6C66-3077F0385A81}"/>
              </a:ext>
            </a:extLst>
          </p:cNvPr>
          <p:cNvSpPr>
            <a:spLocks noGrp="1"/>
          </p:cNvSpPr>
          <p:nvPr>
            <p:ph type="sldNum" sz="quarter" idx="12"/>
          </p:nvPr>
        </p:nvSpPr>
        <p:spPr/>
        <p:txBody>
          <a:bodyPr/>
          <a:lstStyle/>
          <a:p>
            <a:fld id="{330EA680-D336-4FF7-8B7A-9848BB0A1C32}" type="slidenum">
              <a:rPr lang="en-US" smtClean="0"/>
              <a:pPr/>
              <a:t>17</a:t>
            </a:fld>
            <a:endParaRPr lang="en-US"/>
          </a:p>
        </p:txBody>
      </p:sp>
      <p:sp>
        <p:nvSpPr>
          <p:cNvPr id="6" name="Text Placeholder 5">
            <a:extLst>
              <a:ext uri="{FF2B5EF4-FFF2-40B4-BE49-F238E27FC236}">
                <a16:creationId xmlns:a16="http://schemas.microsoft.com/office/drawing/2014/main" id="{3D46379F-8D84-5918-D988-65F9DD1EB7FF}"/>
              </a:ext>
            </a:extLst>
          </p:cNvPr>
          <p:cNvSpPr>
            <a:spLocks noGrp="1"/>
          </p:cNvSpPr>
          <p:nvPr>
            <p:ph type="body" sz="quarter" idx="13"/>
          </p:nvPr>
        </p:nvSpPr>
        <p:spPr/>
        <p:txBody>
          <a:bodyPr/>
          <a:lstStyle/>
          <a:p>
            <a:endParaRPr lang="en-IT" dirty="0"/>
          </a:p>
        </p:txBody>
      </p:sp>
      <p:sp>
        <p:nvSpPr>
          <p:cNvPr id="20" name="Content Placeholder 6">
            <a:extLst>
              <a:ext uri="{FF2B5EF4-FFF2-40B4-BE49-F238E27FC236}">
                <a16:creationId xmlns:a16="http://schemas.microsoft.com/office/drawing/2014/main" id="{C180433C-EE02-762C-CE0C-634202ACC4B4}"/>
              </a:ext>
            </a:extLst>
          </p:cNvPr>
          <p:cNvSpPr>
            <a:spLocks noGrp="1"/>
          </p:cNvSpPr>
          <p:nvPr>
            <p:ph idx="14"/>
          </p:nvPr>
        </p:nvSpPr>
        <p:spPr>
          <a:xfrm>
            <a:off x="592394" y="1678041"/>
            <a:ext cx="3785708" cy="1439427"/>
          </a:xfrm>
        </p:spPr>
        <p:txBody>
          <a:bodyPr>
            <a:noAutofit/>
          </a:bodyPr>
          <a:lstStyle/>
          <a:p>
            <a:pPr algn="l">
              <a:buFont typeface="Arial" panose="020B0604020202020204" pitchFamily="34" charset="0"/>
              <a:buChar char="•"/>
            </a:pPr>
            <a:r>
              <a:rPr lang="en-GB" sz="1200" b="1" i="0" u="none" strike="noStrike" dirty="0">
                <a:solidFill>
                  <a:srgbClr val="242424"/>
                </a:solidFill>
                <a:effectLst/>
              </a:rPr>
              <a:t> Last Year's Success:</a:t>
            </a:r>
            <a:r>
              <a:rPr lang="en-GB" sz="1200" b="0" i="0" u="none" strike="noStrike" dirty="0">
                <a:solidFill>
                  <a:srgbClr val="242424"/>
                </a:solidFill>
                <a:effectLst/>
              </a:rPr>
              <a:t> In 2023, we conducted an in-depth analysis of fintech M&amp;A trends, covering notable acquisitions, segment analysis, and regional highlights.</a:t>
            </a:r>
          </a:p>
          <a:p>
            <a:pPr algn="l">
              <a:buFont typeface="Arial" panose="020B0604020202020204" pitchFamily="34" charset="0"/>
              <a:buChar char="•"/>
            </a:pPr>
            <a:r>
              <a:rPr lang="en-GB" sz="1200" b="1" i="0" u="none" strike="noStrike" dirty="0">
                <a:solidFill>
                  <a:srgbClr val="242424"/>
                </a:solidFill>
                <a:effectLst/>
              </a:rPr>
              <a:t> Building on Insights:</a:t>
            </a:r>
            <a:r>
              <a:rPr lang="en-GB" sz="1200" b="0" i="0" u="none" strike="noStrike" dirty="0">
                <a:solidFill>
                  <a:srgbClr val="242424"/>
                </a:solidFill>
                <a:effectLst/>
              </a:rPr>
              <a:t> This year, we will continue our comprehensive review, focusing on the latest deals and emerging trends in the fintech sector.</a:t>
            </a:r>
          </a:p>
        </p:txBody>
      </p:sp>
      <p:sp>
        <p:nvSpPr>
          <p:cNvPr id="21" name="Content Placeholder 2">
            <a:extLst>
              <a:ext uri="{FF2B5EF4-FFF2-40B4-BE49-F238E27FC236}">
                <a16:creationId xmlns:a16="http://schemas.microsoft.com/office/drawing/2014/main" id="{B426D2AB-E390-CFB0-238A-E14956850A20}"/>
              </a:ext>
            </a:extLst>
          </p:cNvPr>
          <p:cNvSpPr>
            <a:spLocks noGrp="1"/>
          </p:cNvSpPr>
          <p:nvPr>
            <p:ph idx="1"/>
          </p:nvPr>
        </p:nvSpPr>
        <p:spPr>
          <a:xfrm>
            <a:off x="605727" y="1262853"/>
            <a:ext cx="3624361" cy="425450"/>
          </a:xfrm>
        </p:spPr>
        <p:txBody>
          <a:bodyPr>
            <a:normAutofit/>
          </a:bodyPr>
          <a:lstStyle/>
          <a:p>
            <a:r>
              <a:rPr lang="en-GB" sz="1600" dirty="0"/>
              <a:t>Continuing Our Analysis:</a:t>
            </a:r>
            <a:r>
              <a:rPr lang="en-US" sz="1600" dirty="0"/>
              <a:t>:</a:t>
            </a:r>
          </a:p>
        </p:txBody>
      </p:sp>
      <p:grpSp>
        <p:nvGrpSpPr>
          <p:cNvPr id="26" name="Group 25">
            <a:extLst>
              <a:ext uri="{FF2B5EF4-FFF2-40B4-BE49-F238E27FC236}">
                <a16:creationId xmlns:a16="http://schemas.microsoft.com/office/drawing/2014/main" id="{9D5FEE24-AF1D-EC69-650F-CBC4ED3AEA38}"/>
              </a:ext>
            </a:extLst>
          </p:cNvPr>
          <p:cNvGrpSpPr/>
          <p:nvPr/>
        </p:nvGrpSpPr>
        <p:grpSpPr>
          <a:xfrm>
            <a:off x="584810" y="4546279"/>
            <a:ext cx="3850936" cy="2097735"/>
            <a:chOff x="356695" y="5065525"/>
            <a:chExt cx="3850936" cy="2097735"/>
          </a:xfrm>
        </p:grpSpPr>
        <p:sp>
          <p:nvSpPr>
            <p:cNvPr id="27" name="Content Placeholder 2">
              <a:extLst>
                <a:ext uri="{FF2B5EF4-FFF2-40B4-BE49-F238E27FC236}">
                  <a16:creationId xmlns:a16="http://schemas.microsoft.com/office/drawing/2014/main" id="{57E0BC45-92D7-B68F-95E3-23DE7171469B}"/>
                </a:ext>
              </a:extLst>
            </p:cNvPr>
            <p:cNvSpPr txBox="1">
              <a:spLocks/>
            </p:cNvSpPr>
            <p:nvPr/>
          </p:nvSpPr>
          <p:spPr>
            <a:xfrm>
              <a:off x="356695" y="5065525"/>
              <a:ext cx="3624361"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eam members</a:t>
              </a:r>
            </a:p>
          </p:txBody>
        </p:sp>
        <p:sp>
          <p:nvSpPr>
            <p:cNvPr id="28" name="Content Placeholder 6">
              <a:extLst>
                <a:ext uri="{FF2B5EF4-FFF2-40B4-BE49-F238E27FC236}">
                  <a16:creationId xmlns:a16="http://schemas.microsoft.com/office/drawing/2014/main" id="{681BCDA3-AF3C-887D-5AE8-B5AF0FE770CC}"/>
                </a:ext>
              </a:extLst>
            </p:cNvPr>
            <p:cNvSpPr txBox="1">
              <a:spLocks/>
            </p:cNvSpPr>
            <p:nvPr/>
          </p:nvSpPr>
          <p:spPr>
            <a:xfrm>
              <a:off x="381786" y="5395229"/>
              <a:ext cx="3825845" cy="176803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200" b="1" dirty="0"/>
                <a:t>- 3 to 5 </a:t>
              </a:r>
              <a:r>
                <a:rPr lang="en-US" sz="1200" dirty="0"/>
                <a:t>students maximum</a:t>
              </a:r>
            </a:p>
            <a:p>
              <a:pPr>
                <a:lnSpc>
                  <a:spcPct val="100000"/>
                </a:lnSpc>
                <a:spcBef>
                  <a:spcPts val="0"/>
                </a:spcBef>
              </a:pPr>
              <a:r>
                <a:rPr lang="en-US" sz="1200" dirty="0"/>
                <a:t>- </a:t>
              </a:r>
              <a:r>
                <a:rPr lang="en-US" sz="1200" dirty="0">
                  <a:solidFill>
                    <a:srgbClr val="000000"/>
                  </a:solidFill>
                </a:rPr>
                <a:t>Individuals who are interested in M&amp;A analysis and cybersecurity. </a:t>
              </a:r>
            </a:p>
            <a:p>
              <a:pPr>
                <a:lnSpc>
                  <a:spcPct val="100000"/>
                </a:lnSpc>
                <a:spcBef>
                  <a:spcPts val="0"/>
                </a:spcBef>
              </a:pPr>
              <a:endParaRPr lang="en-US" sz="1200" dirty="0"/>
            </a:p>
          </p:txBody>
        </p:sp>
      </p:grpSp>
      <p:grpSp>
        <p:nvGrpSpPr>
          <p:cNvPr id="29" name="Group 28">
            <a:extLst>
              <a:ext uri="{FF2B5EF4-FFF2-40B4-BE49-F238E27FC236}">
                <a16:creationId xmlns:a16="http://schemas.microsoft.com/office/drawing/2014/main" id="{77A39FF8-772E-E67C-E2AC-1BB7F99A6B54}"/>
              </a:ext>
            </a:extLst>
          </p:cNvPr>
          <p:cNvGrpSpPr/>
          <p:nvPr/>
        </p:nvGrpSpPr>
        <p:grpSpPr>
          <a:xfrm>
            <a:off x="4577643" y="1310077"/>
            <a:ext cx="3732604" cy="2118923"/>
            <a:chOff x="4577643" y="1310077"/>
            <a:chExt cx="3732604" cy="2118923"/>
          </a:xfrm>
        </p:grpSpPr>
        <p:sp>
          <p:nvSpPr>
            <p:cNvPr id="30" name="Content Placeholder 6">
              <a:extLst>
                <a:ext uri="{FF2B5EF4-FFF2-40B4-BE49-F238E27FC236}">
                  <a16:creationId xmlns:a16="http://schemas.microsoft.com/office/drawing/2014/main" id="{74C78162-8789-B2C8-BEAB-CB8071E041BC}"/>
                </a:ext>
              </a:extLst>
            </p:cNvPr>
            <p:cNvSpPr txBox="1">
              <a:spLocks/>
            </p:cNvSpPr>
            <p:nvPr/>
          </p:nvSpPr>
          <p:spPr>
            <a:xfrm>
              <a:off x="4637230" y="1660969"/>
              <a:ext cx="3673017" cy="176803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Font typeface="Arial" panose="020B0604020202020204" pitchFamily="34" charset="0"/>
                <a:buChar char="•"/>
              </a:pPr>
              <a:r>
                <a:rPr lang="en-GB" sz="1200" b="1" i="0" u="none" strike="noStrike" dirty="0">
                  <a:solidFill>
                    <a:srgbClr val="242424"/>
                  </a:solidFill>
                  <a:effectLst/>
                </a:rPr>
                <a:t> Notable Acquisitions:</a:t>
              </a:r>
              <a:r>
                <a:rPr lang="en-GB" sz="1200" b="0" i="0" u="none" strike="noStrike" dirty="0">
                  <a:solidFill>
                    <a:srgbClr val="242424"/>
                  </a:solidFill>
                  <a:effectLst/>
                </a:rPr>
                <a:t> Highlighting significant deals and their strategic implications.</a:t>
              </a:r>
            </a:p>
            <a:p>
              <a:pPr algn="l">
                <a:buFont typeface="Arial" panose="020B0604020202020204" pitchFamily="34" charset="0"/>
                <a:buChar char="•"/>
              </a:pPr>
              <a:r>
                <a:rPr lang="en-GB" sz="1200" b="1" i="0" u="none" strike="noStrike" dirty="0">
                  <a:solidFill>
                    <a:srgbClr val="242424"/>
                  </a:solidFill>
                  <a:effectLst/>
                </a:rPr>
                <a:t> Segment Analysis:</a:t>
              </a:r>
              <a:r>
                <a:rPr lang="en-GB" sz="1200" b="0" i="0" u="none" strike="noStrike" dirty="0">
                  <a:solidFill>
                    <a:srgbClr val="242424"/>
                  </a:solidFill>
                  <a:effectLst/>
                </a:rPr>
                <a:t> Examining investment trends across various fintech segments.</a:t>
              </a:r>
            </a:p>
            <a:p>
              <a:pPr algn="l">
                <a:buFont typeface="Arial" panose="020B0604020202020204" pitchFamily="34" charset="0"/>
                <a:buChar char="•"/>
              </a:pPr>
              <a:r>
                <a:rPr lang="en-GB" sz="1200" b="1" i="0" u="none" strike="noStrike" dirty="0">
                  <a:solidFill>
                    <a:srgbClr val="242424"/>
                  </a:solidFill>
                  <a:effectLst/>
                </a:rPr>
                <a:t> Regional Highlights:</a:t>
              </a:r>
              <a:r>
                <a:rPr lang="en-GB" sz="1200" b="0" i="0" u="none" strike="noStrike" dirty="0">
                  <a:solidFill>
                    <a:srgbClr val="242424"/>
                  </a:solidFill>
                  <a:effectLst/>
                </a:rPr>
                <a:t> Providing insights into M&amp;A activities in different regions.</a:t>
              </a:r>
            </a:p>
            <a:p>
              <a:br>
                <a:rPr lang="en-GB" sz="1200" dirty="0"/>
              </a:br>
              <a:endParaRPr lang="en-US" sz="1200" dirty="0"/>
            </a:p>
          </p:txBody>
        </p:sp>
        <p:sp>
          <p:nvSpPr>
            <p:cNvPr id="31" name="Content Placeholder 2">
              <a:extLst>
                <a:ext uri="{FF2B5EF4-FFF2-40B4-BE49-F238E27FC236}">
                  <a16:creationId xmlns:a16="http://schemas.microsoft.com/office/drawing/2014/main" id="{8F717799-3FC8-F64F-3582-69D705F9B9AA}"/>
                </a:ext>
              </a:extLst>
            </p:cNvPr>
            <p:cNvSpPr txBox="1">
              <a:spLocks/>
            </p:cNvSpPr>
            <p:nvPr/>
          </p:nvSpPr>
          <p:spPr>
            <a:xfrm>
              <a:off x="4577643" y="1310077"/>
              <a:ext cx="3624361"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Key Areas of Focus:</a:t>
              </a:r>
              <a:endParaRPr lang="en-US" sz="1600" dirty="0"/>
            </a:p>
          </p:txBody>
        </p:sp>
      </p:grpSp>
      <p:grpSp>
        <p:nvGrpSpPr>
          <p:cNvPr id="3" name="Group 2">
            <a:extLst>
              <a:ext uri="{FF2B5EF4-FFF2-40B4-BE49-F238E27FC236}">
                <a16:creationId xmlns:a16="http://schemas.microsoft.com/office/drawing/2014/main" id="{4372BC9C-FE81-E183-ACD3-3D8E23064BCE}"/>
              </a:ext>
            </a:extLst>
          </p:cNvPr>
          <p:cNvGrpSpPr/>
          <p:nvPr/>
        </p:nvGrpSpPr>
        <p:grpSpPr>
          <a:xfrm>
            <a:off x="559714" y="3054015"/>
            <a:ext cx="3850941" cy="1262962"/>
            <a:chOff x="356693" y="3840889"/>
            <a:chExt cx="3850941" cy="1262962"/>
          </a:xfrm>
        </p:grpSpPr>
        <p:sp>
          <p:nvSpPr>
            <p:cNvPr id="7" name="Content Placeholder 2">
              <a:extLst>
                <a:ext uri="{FF2B5EF4-FFF2-40B4-BE49-F238E27FC236}">
                  <a16:creationId xmlns:a16="http://schemas.microsoft.com/office/drawing/2014/main" id="{45E751ED-BB78-389B-AE85-B90DFCDDB21F}"/>
                </a:ext>
              </a:extLst>
            </p:cNvPr>
            <p:cNvSpPr txBox="1">
              <a:spLocks/>
            </p:cNvSpPr>
            <p:nvPr/>
          </p:nvSpPr>
          <p:spPr>
            <a:xfrm>
              <a:off x="356693" y="3840889"/>
              <a:ext cx="3624361"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Why This Matters :</a:t>
              </a:r>
              <a:endParaRPr lang="en-US" sz="1600" dirty="0"/>
            </a:p>
          </p:txBody>
        </p:sp>
        <p:sp>
          <p:nvSpPr>
            <p:cNvPr id="8" name="Content Placeholder 6">
              <a:extLst>
                <a:ext uri="{FF2B5EF4-FFF2-40B4-BE49-F238E27FC236}">
                  <a16:creationId xmlns:a16="http://schemas.microsoft.com/office/drawing/2014/main" id="{A428A654-5CE6-8A60-814F-7A0DA3C2FD12}"/>
                </a:ext>
              </a:extLst>
            </p:cNvPr>
            <p:cNvSpPr txBox="1">
              <a:spLocks/>
            </p:cNvSpPr>
            <p:nvPr/>
          </p:nvSpPr>
          <p:spPr>
            <a:xfrm>
              <a:off x="381789" y="4196080"/>
              <a:ext cx="3825845" cy="90777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Font typeface="Arial" panose="020B0604020202020204" pitchFamily="34" charset="0"/>
                <a:buChar char="•"/>
              </a:pPr>
              <a:r>
                <a:rPr lang="en-GB" sz="1200" b="1" i="0" u="none" strike="noStrike" dirty="0">
                  <a:solidFill>
                    <a:srgbClr val="242424"/>
                  </a:solidFill>
                  <a:effectLst/>
                </a:rPr>
                <a:t> Staying Informed:</a:t>
              </a:r>
              <a:r>
                <a:rPr lang="en-GB" sz="1200" b="0" i="0" u="none" strike="noStrike" dirty="0">
                  <a:solidFill>
                    <a:srgbClr val="242424"/>
                  </a:solidFill>
                  <a:effectLst/>
                </a:rPr>
                <a:t> Keeping up with the latest trends helps us understand the evolving landscape of fintech M&amp;A.</a:t>
              </a:r>
            </a:p>
            <a:p>
              <a:pPr algn="l">
                <a:buFont typeface="Arial" panose="020B0604020202020204" pitchFamily="34" charset="0"/>
                <a:buChar char="•"/>
              </a:pPr>
              <a:r>
                <a:rPr lang="en-GB" sz="1200" b="1" i="0" u="none" strike="noStrike" dirty="0">
                  <a:solidFill>
                    <a:srgbClr val="242424"/>
                  </a:solidFill>
                  <a:effectLst/>
                </a:rPr>
                <a:t> Strategic Insights:</a:t>
              </a:r>
              <a:r>
                <a:rPr lang="en-GB" sz="1200" b="0" i="0" u="none" strike="noStrike" dirty="0">
                  <a:solidFill>
                    <a:srgbClr val="242424"/>
                  </a:solidFill>
                  <a:effectLst/>
                </a:rPr>
                <a:t> </a:t>
              </a:r>
              <a:r>
                <a:rPr lang="en-GB" sz="1200" b="0" i="0" u="none" strike="noStrike" dirty="0" err="1">
                  <a:solidFill>
                    <a:srgbClr val="242424"/>
                  </a:solidFill>
                  <a:effectLst/>
                </a:rPr>
                <a:t>Analyzing</a:t>
              </a:r>
              <a:r>
                <a:rPr lang="en-GB" sz="1200" b="0" i="0" u="none" strike="noStrike" dirty="0">
                  <a:solidFill>
                    <a:srgbClr val="242424"/>
                  </a:solidFill>
                  <a:effectLst/>
                </a:rPr>
                <a:t> these deals provides valuable insights into market dynamics and strategic moves by key players.</a:t>
              </a:r>
            </a:p>
            <a:p>
              <a:pPr>
                <a:lnSpc>
                  <a:spcPct val="100000"/>
                </a:lnSpc>
                <a:spcBef>
                  <a:spcPts val="0"/>
                </a:spcBef>
              </a:pPr>
              <a:endParaRPr lang="en-US" sz="1200" dirty="0"/>
            </a:p>
          </p:txBody>
        </p:sp>
      </p:grpSp>
      <p:pic>
        <p:nvPicPr>
          <p:cNvPr id="10" name="Picture 9" descr="A close-up of a graph&#10;&#10;Description automatically generated">
            <a:extLst>
              <a:ext uri="{FF2B5EF4-FFF2-40B4-BE49-F238E27FC236}">
                <a16:creationId xmlns:a16="http://schemas.microsoft.com/office/drawing/2014/main" id="{0FA961E1-06A2-C9BF-4DC4-C4AD88F38B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0740" y="2986439"/>
            <a:ext cx="3362932" cy="2405472"/>
          </a:xfrm>
          <a:prstGeom prst="rect">
            <a:avLst/>
          </a:prstGeom>
        </p:spPr>
      </p:pic>
      <p:sp>
        <p:nvSpPr>
          <p:cNvPr id="11" name="TextBox 10">
            <a:extLst>
              <a:ext uri="{FF2B5EF4-FFF2-40B4-BE49-F238E27FC236}">
                <a16:creationId xmlns:a16="http://schemas.microsoft.com/office/drawing/2014/main" id="{8EA2236B-F79A-2EC2-FACE-2295DC69364C}"/>
              </a:ext>
            </a:extLst>
          </p:cNvPr>
          <p:cNvSpPr txBox="1"/>
          <p:nvPr/>
        </p:nvSpPr>
        <p:spPr>
          <a:xfrm>
            <a:off x="4834028" y="5225334"/>
            <a:ext cx="3362932" cy="261610"/>
          </a:xfrm>
          <a:prstGeom prst="rect">
            <a:avLst/>
          </a:prstGeom>
          <a:noFill/>
        </p:spPr>
        <p:txBody>
          <a:bodyPr wrap="square" rtlCol="0">
            <a:spAutoFit/>
          </a:bodyPr>
          <a:lstStyle/>
          <a:p>
            <a:r>
              <a:rPr lang="en-GB" sz="1100" i="1" dirty="0">
                <a:solidFill>
                  <a:schemeClr val="bg2">
                    <a:lumMod val="50000"/>
                  </a:schemeClr>
                </a:solidFill>
                <a:latin typeface="Arial" panose="020B0604020202020204" pitchFamily="34" charset="0"/>
                <a:cs typeface="Arial" panose="020B0604020202020204" pitchFamily="34" charset="0"/>
              </a:rPr>
              <a:t>Slide from last year outlook</a:t>
            </a:r>
            <a:endParaRPr lang="en-IT" sz="1100" i="1" dirty="0">
              <a:solidFill>
                <a:schemeClr val="bg2">
                  <a:lumMod val="50000"/>
                </a:schemeClr>
              </a:solidFill>
              <a:latin typeface="Arial" panose="020B0604020202020204" pitchFamily="34" charset="0"/>
              <a:cs typeface="Arial" panose="020B0604020202020204" pitchFamily="34" charset="0"/>
            </a:endParaRPr>
          </a:p>
        </p:txBody>
      </p:sp>
      <p:sp>
        <p:nvSpPr>
          <p:cNvPr id="9" name="Date Placeholder 3">
            <a:extLst>
              <a:ext uri="{FF2B5EF4-FFF2-40B4-BE49-F238E27FC236}">
                <a16:creationId xmlns:a16="http://schemas.microsoft.com/office/drawing/2014/main" id="{D8B67480-39AD-613D-8C05-360BC19E1496}"/>
              </a:ext>
            </a:extLst>
          </p:cNvPr>
          <p:cNvSpPr txBox="1">
            <a:spLocks/>
          </p:cNvSpPr>
          <p:nvPr/>
        </p:nvSpPr>
        <p:spPr>
          <a:xfrm>
            <a:off x="357680" y="6356351"/>
            <a:ext cx="20574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Arial" panose="020B0604020202020204" pitchFamily="34" charset="0"/>
                <a:cs typeface="Arial" panose="020B0604020202020204" pitchFamily="34" charset="0"/>
              </a:rPr>
              <a:t>November 20, 2024</a:t>
            </a:r>
          </a:p>
        </p:txBody>
      </p:sp>
    </p:spTree>
    <p:extLst>
      <p:ext uri="{BB962C8B-B14F-4D97-AF65-F5344CB8AC3E}">
        <p14:creationId xmlns:p14="http://schemas.microsoft.com/office/powerpoint/2010/main" val="9131781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EE4C3D0-AD4F-8884-75AC-79E97FBBBDDA}"/>
              </a:ext>
            </a:extLst>
          </p:cNvPr>
          <p:cNvSpPr/>
          <p:nvPr/>
        </p:nvSpPr>
        <p:spPr>
          <a:xfrm>
            <a:off x="0" y="1"/>
            <a:ext cx="9144000" cy="6858000"/>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T" dirty="0"/>
              <a:t>C</a:t>
            </a:r>
          </a:p>
        </p:txBody>
      </p:sp>
      <p:pic>
        <p:nvPicPr>
          <p:cNvPr id="2050" name="Picture 2" descr="Bocconi Campus VR">
            <a:extLst>
              <a:ext uri="{FF2B5EF4-FFF2-40B4-BE49-F238E27FC236}">
                <a16:creationId xmlns:a16="http://schemas.microsoft.com/office/drawing/2014/main" id="{C231DC4F-F798-7931-2292-4D68E07E4612}"/>
              </a:ext>
            </a:extLst>
          </p:cNvPr>
          <p:cNvPicPr>
            <a:picLocks noChangeAspect="1" noChangeArrowheads="1"/>
          </p:cNvPicPr>
          <p:nvPr/>
        </p:nvPicPr>
        <p:blipFill rotWithShape="1">
          <a:blip r:embed="rId2">
            <a:alphaModFix amt="66000"/>
            <a:extLst>
              <a:ext uri="{28A0092B-C50C-407E-A947-70E740481C1C}">
                <a14:useLocalDpi xmlns:a14="http://schemas.microsoft.com/office/drawing/2010/main" val="0"/>
              </a:ext>
            </a:extLst>
          </a:blip>
          <a:srcRect l="10317" r="11678" b="12130"/>
          <a:stretch/>
        </p:blipFill>
        <p:spPr bwMode="auto">
          <a:xfrm>
            <a:off x="0" y="0"/>
            <a:ext cx="9144000" cy="6857999"/>
          </a:xfrm>
          <a:prstGeom prst="rect">
            <a:avLst/>
          </a:prstGeom>
          <a:noFill/>
        </p:spPr>
      </p:pic>
      <p:sp>
        <p:nvSpPr>
          <p:cNvPr id="9" name="TextBox 8">
            <a:extLst>
              <a:ext uri="{FF2B5EF4-FFF2-40B4-BE49-F238E27FC236}">
                <a16:creationId xmlns:a16="http://schemas.microsoft.com/office/drawing/2014/main" id="{80BD7497-12A0-2286-8155-307682FF0974}"/>
              </a:ext>
            </a:extLst>
          </p:cNvPr>
          <p:cNvSpPr txBox="1"/>
          <p:nvPr/>
        </p:nvSpPr>
        <p:spPr>
          <a:xfrm>
            <a:off x="2186608" y="2659558"/>
            <a:ext cx="4770783" cy="769441"/>
          </a:xfrm>
          <a:prstGeom prst="rect">
            <a:avLst/>
          </a:prstGeom>
          <a:noFill/>
          <a:effectLst>
            <a:outerShdw blurRad="50800" dist="50800" dir="6600000" algn="ctr" rotWithShape="0">
              <a:srgbClr val="000000">
                <a:alpha val="43137"/>
              </a:srgbClr>
            </a:outerShdw>
          </a:effectLst>
        </p:spPr>
        <p:txBody>
          <a:bodyPr wrap="square" rtlCol="0">
            <a:spAutoFit/>
          </a:bodyPr>
          <a:lstStyle/>
          <a:p>
            <a:r>
              <a:rPr lang="en-IT" sz="4400" b="1" dirty="0">
                <a:solidFill>
                  <a:schemeClr val="bg2"/>
                </a:solidFill>
                <a:latin typeface="BODONI 72 BOOK" pitchFamily="2" charset="0"/>
              </a:rPr>
              <a:t>Generalist Division</a:t>
            </a:r>
          </a:p>
        </p:txBody>
      </p:sp>
    </p:spTree>
    <p:extLst>
      <p:ext uri="{BB962C8B-B14F-4D97-AF65-F5344CB8AC3E}">
        <p14:creationId xmlns:p14="http://schemas.microsoft.com/office/powerpoint/2010/main" val="1597718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D5DBA-FA6C-1CA1-5FF0-37B2C5C581F2}"/>
              </a:ext>
            </a:extLst>
          </p:cNvPr>
          <p:cNvSpPr>
            <a:spLocks noGrp="1"/>
          </p:cNvSpPr>
          <p:nvPr>
            <p:ph type="title"/>
          </p:nvPr>
        </p:nvSpPr>
        <p:spPr/>
        <p:txBody>
          <a:bodyPr>
            <a:normAutofit/>
          </a:bodyPr>
          <a:lstStyle/>
          <a:p>
            <a:r>
              <a:rPr lang="en-US" dirty="0"/>
              <a:t>Generalist: Digital Banks vs Traditional Banks</a:t>
            </a:r>
          </a:p>
        </p:txBody>
      </p:sp>
      <p:sp>
        <p:nvSpPr>
          <p:cNvPr id="3" name="Content Placeholder 2">
            <a:extLst>
              <a:ext uri="{FF2B5EF4-FFF2-40B4-BE49-F238E27FC236}">
                <a16:creationId xmlns:a16="http://schemas.microsoft.com/office/drawing/2014/main" id="{ADD77B1C-EF66-FB5A-ED5C-0B358D9C7B55}"/>
              </a:ext>
            </a:extLst>
          </p:cNvPr>
          <p:cNvSpPr>
            <a:spLocks noGrp="1"/>
          </p:cNvSpPr>
          <p:nvPr>
            <p:ph idx="1"/>
          </p:nvPr>
        </p:nvSpPr>
        <p:spPr>
          <a:xfrm>
            <a:off x="356692" y="1312624"/>
            <a:ext cx="3624361" cy="425450"/>
          </a:xfrm>
        </p:spPr>
        <p:txBody>
          <a:bodyPr>
            <a:normAutofit/>
          </a:bodyPr>
          <a:lstStyle/>
          <a:p>
            <a:r>
              <a:rPr lang="en-US" sz="1600" dirty="0"/>
              <a:t>Project Overview </a:t>
            </a:r>
          </a:p>
        </p:txBody>
      </p:sp>
      <p:sp>
        <p:nvSpPr>
          <p:cNvPr id="5" name="Slide Number Placeholder 4">
            <a:extLst>
              <a:ext uri="{FF2B5EF4-FFF2-40B4-BE49-F238E27FC236}">
                <a16:creationId xmlns:a16="http://schemas.microsoft.com/office/drawing/2014/main" id="{D649C08A-8B92-22F3-9EF7-CE31C13F8F5D}"/>
              </a:ext>
            </a:extLst>
          </p:cNvPr>
          <p:cNvSpPr>
            <a:spLocks noGrp="1"/>
          </p:cNvSpPr>
          <p:nvPr>
            <p:ph type="sldNum" sz="quarter" idx="12"/>
          </p:nvPr>
        </p:nvSpPr>
        <p:spPr/>
        <p:txBody>
          <a:bodyPr/>
          <a:lstStyle/>
          <a:p>
            <a:fld id="{330EA680-D336-4FF7-8B7A-9848BB0A1C32}" type="slidenum">
              <a:rPr lang="en-US" smtClean="0"/>
              <a:pPr/>
              <a:t>19</a:t>
            </a:fld>
            <a:endParaRPr lang="en-US"/>
          </a:p>
        </p:txBody>
      </p:sp>
      <p:sp>
        <p:nvSpPr>
          <p:cNvPr id="7" name="Content Placeholder 6">
            <a:extLst>
              <a:ext uri="{FF2B5EF4-FFF2-40B4-BE49-F238E27FC236}">
                <a16:creationId xmlns:a16="http://schemas.microsoft.com/office/drawing/2014/main" id="{DC2D55D2-86DB-9F72-760A-835B3FCD33AE}"/>
              </a:ext>
            </a:extLst>
          </p:cNvPr>
          <p:cNvSpPr>
            <a:spLocks noGrp="1"/>
          </p:cNvSpPr>
          <p:nvPr>
            <p:ph idx="14"/>
          </p:nvPr>
        </p:nvSpPr>
        <p:spPr>
          <a:xfrm>
            <a:off x="381790" y="1660969"/>
            <a:ext cx="3785708" cy="2535111"/>
          </a:xfrm>
        </p:spPr>
        <p:txBody>
          <a:bodyPr>
            <a:noAutofit/>
          </a:bodyPr>
          <a:lstStyle/>
          <a:p>
            <a:pPr marL="285750" indent="-285750">
              <a:lnSpc>
                <a:spcPct val="100000"/>
              </a:lnSpc>
              <a:spcBef>
                <a:spcPts val="0"/>
              </a:spcBef>
              <a:buFont typeface="Arial" panose="020B0604020202020204" pitchFamily="34" charset="0"/>
              <a:buChar char="•"/>
            </a:pPr>
            <a:r>
              <a:rPr lang="en-GB" sz="1200" b="0" i="0" u="none" strike="noStrike" dirty="0">
                <a:solidFill>
                  <a:srgbClr val="000000"/>
                </a:solidFill>
                <a:effectLst/>
              </a:rPr>
              <a:t>The </a:t>
            </a:r>
            <a:r>
              <a:rPr lang="en-GB" sz="1200" b="1" i="0" u="none" strike="noStrike" dirty="0">
                <a:solidFill>
                  <a:srgbClr val="000000"/>
                </a:solidFill>
                <a:effectLst/>
              </a:rPr>
              <a:t>emergence of </a:t>
            </a:r>
            <a:r>
              <a:rPr lang="en-GB" sz="1200" b="1" i="0" u="none" strike="noStrike" dirty="0" err="1">
                <a:solidFill>
                  <a:srgbClr val="000000"/>
                </a:solidFill>
                <a:effectLst/>
              </a:rPr>
              <a:t>neobanks</a:t>
            </a:r>
            <a:r>
              <a:rPr lang="en-GB" sz="1200" b="1" i="0" u="none" strike="noStrike" dirty="0">
                <a:solidFill>
                  <a:srgbClr val="000000"/>
                </a:solidFill>
                <a:effectLst/>
              </a:rPr>
              <a:t> </a:t>
            </a:r>
            <a:r>
              <a:rPr lang="en-GB" sz="1200" b="0" i="0" u="none" strike="noStrike" dirty="0">
                <a:solidFill>
                  <a:srgbClr val="000000"/>
                </a:solidFill>
                <a:effectLst/>
              </a:rPr>
              <a:t>has disrupted traditional banking by offering seamless digital experiences, lower fees, and innovative services.</a:t>
            </a:r>
            <a:endParaRPr lang="en-US" sz="1200" dirty="0"/>
          </a:p>
          <a:p>
            <a:pPr marL="285750" indent="-285750">
              <a:lnSpc>
                <a:spcPct val="100000"/>
              </a:lnSpc>
              <a:spcBef>
                <a:spcPts val="0"/>
              </a:spcBef>
              <a:buFont typeface="Arial" panose="020B0604020202020204" pitchFamily="34" charset="0"/>
              <a:buChar char="•"/>
            </a:pPr>
            <a:r>
              <a:rPr lang="en-GB" sz="1200" b="1" i="1" u="none" strike="noStrike" dirty="0">
                <a:solidFill>
                  <a:srgbClr val="000000"/>
                </a:solidFill>
                <a:effectLst/>
              </a:rPr>
              <a:t>Are their business models sustainable in the long-term? </a:t>
            </a:r>
          </a:p>
          <a:p>
            <a:pPr marL="285750" indent="-285750">
              <a:lnSpc>
                <a:spcPct val="100000"/>
              </a:lnSpc>
              <a:spcBef>
                <a:spcPts val="0"/>
              </a:spcBef>
              <a:buFont typeface="Arial" panose="020B0604020202020204" pitchFamily="34" charset="0"/>
              <a:buChar char="•"/>
            </a:pPr>
            <a:r>
              <a:rPr lang="en-GB" sz="1200" b="0" i="0" u="none" strike="noStrike" dirty="0">
                <a:solidFill>
                  <a:srgbClr val="000000"/>
                </a:solidFill>
                <a:effectLst/>
              </a:rPr>
              <a:t>The project explores whether </a:t>
            </a:r>
            <a:r>
              <a:rPr lang="en-GB" sz="1200" b="0" i="0" u="none" strike="noStrike" dirty="0" err="1">
                <a:solidFill>
                  <a:srgbClr val="000000"/>
                </a:solidFill>
                <a:effectLst/>
              </a:rPr>
              <a:t>neobanks</a:t>
            </a:r>
            <a:r>
              <a:rPr lang="en-GB" sz="1200" b="0" i="0" u="none" strike="noStrike" dirty="0">
                <a:solidFill>
                  <a:srgbClr val="000000"/>
                </a:solidFill>
                <a:effectLst/>
              </a:rPr>
              <a:t> can maintain profitability and growth, focusing on their financial performance, customer acquisition strategies, and business models, while </a:t>
            </a:r>
            <a:r>
              <a:rPr lang="en-GB" sz="1200" b="1" i="0" u="none" strike="noStrike" dirty="0">
                <a:solidFill>
                  <a:srgbClr val="000000"/>
                </a:solidFill>
                <a:effectLst/>
              </a:rPr>
              <a:t>comparing them with established traditional banks</a:t>
            </a:r>
            <a:r>
              <a:rPr lang="en-GB" sz="1200" b="0" i="0" u="none" strike="noStrike" dirty="0">
                <a:solidFill>
                  <a:srgbClr val="000000"/>
                </a:solidFill>
                <a:effectLst/>
              </a:rPr>
              <a:t>.</a:t>
            </a:r>
            <a:endParaRPr lang="en-US" sz="1200" dirty="0"/>
          </a:p>
        </p:txBody>
      </p:sp>
      <p:sp>
        <p:nvSpPr>
          <p:cNvPr id="9" name="Content Placeholder 6">
            <a:extLst>
              <a:ext uri="{FF2B5EF4-FFF2-40B4-BE49-F238E27FC236}">
                <a16:creationId xmlns:a16="http://schemas.microsoft.com/office/drawing/2014/main" id="{309EAA7C-A0B8-5AA3-A739-1AF0AFFDADDC}"/>
              </a:ext>
            </a:extLst>
          </p:cNvPr>
          <p:cNvSpPr txBox="1">
            <a:spLocks/>
          </p:cNvSpPr>
          <p:nvPr/>
        </p:nvSpPr>
        <p:spPr>
          <a:xfrm>
            <a:off x="195345" y="3206519"/>
            <a:ext cx="4376655" cy="160428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Font typeface="Arial" panose="020B0604020202020204" pitchFamily="34" charset="0"/>
              <a:buChar char="•"/>
            </a:pPr>
            <a:endParaRPr lang="en-US" sz="1200" dirty="0"/>
          </a:p>
          <a:p>
            <a:pPr>
              <a:lnSpc>
                <a:spcPct val="100000"/>
              </a:lnSpc>
              <a:spcBef>
                <a:spcPts val="0"/>
              </a:spcBef>
            </a:pPr>
            <a:endParaRPr lang="en-US" sz="1200" dirty="0"/>
          </a:p>
          <a:p>
            <a:pPr>
              <a:lnSpc>
                <a:spcPct val="100000"/>
              </a:lnSpc>
              <a:spcBef>
                <a:spcPts val="0"/>
              </a:spcBef>
            </a:pPr>
            <a:endParaRPr lang="en-US" sz="1200" dirty="0"/>
          </a:p>
        </p:txBody>
      </p:sp>
      <p:sp>
        <p:nvSpPr>
          <p:cNvPr id="18" name="Rectangle 17">
            <a:extLst>
              <a:ext uri="{FF2B5EF4-FFF2-40B4-BE49-F238E27FC236}">
                <a16:creationId xmlns:a16="http://schemas.microsoft.com/office/drawing/2014/main" id="{214D6C63-C550-21C7-9DD2-8FAB2900FBC2}"/>
              </a:ext>
            </a:extLst>
          </p:cNvPr>
          <p:cNvSpPr/>
          <p:nvPr/>
        </p:nvSpPr>
        <p:spPr>
          <a:xfrm>
            <a:off x="356695" y="5688280"/>
            <a:ext cx="8429625" cy="178130"/>
          </a:xfrm>
          <a:prstGeom prst="rect">
            <a:avLst/>
          </a:prstGeom>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6">
            <a:extLst>
              <a:ext uri="{FF2B5EF4-FFF2-40B4-BE49-F238E27FC236}">
                <a16:creationId xmlns:a16="http://schemas.microsoft.com/office/drawing/2014/main" id="{6A605144-9AA5-940B-08F1-9A249E9DCA2D}"/>
              </a:ext>
            </a:extLst>
          </p:cNvPr>
          <p:cNvSpPr txBox="1">
            <a:spLocks/>
          </p:cNvSpPr>
          <p:nvPr/>
        </p:nvSpPr>
        <p:spPr>
          <a:xfrm>
            <a:off x="4567551" y="1336536"/>
            <a:ext cx="4077519" cy="193331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endParaRPr lang="en-US" sz="1500" b="1" dirty="0">
              <a:solidFill>
                <a:schemeClr val="tx2"/>
              </a:solidFill>
            </a:endParaRPr>
          </a:p>
          <a:p>
            <a:pPr marL="171450" indent="-171450">
              <a:lnSpc>
                <a:spcPct val="100000"/>
              </a:lnSpc>
              <a:spcBef>
                <a:spcPts val="0"/>
              </a:spcBef>
              <a:buFont typeface="Arial" panose="020B0604020202020204" pitchFamily="34" charset="0"/>
              <a:buChar char="•"/>
            </a:pPr>
            <a:endParaRPr lang="en-US" sz="1800" dirty="0"/>
          </a:p>
        </p:txBody>
      </p:sp>
      <p:grpSp>
        <p:nvGrpSpPr>
          <p:cNvPr id="17" name="Group 16">
            <a:extLst>
              <a:ext uri="{FF2B5EF4-FFF2-40B4-BE49-F238E27FC236}">
                <a16:creationId xmlns:a16="http://schemas.microsoft.com/office/drawing/2014/main" id="{164631BC-FB25-3813-495B-3D66975DE9D7}"/>
              </a:ext>
            </a:extLst>
          </p:cNvPr>
          <p:cNvGrpSpPr/>
          <p:nvPr/>
        </p:nvGrpSpPr>
        <p:grpSpPr>
          <a:xfrm>
            <a:off x="4577643" y="1310077"/>
            <a:ext cx="3732604" cy="2118923"/>
            <a:chOff x="4577643" y="1310077"/>
            <a:chExt cx="3732604" cy="2118923"/>
          </a:xfrm>
        </p:grpSpPr>
        <p:sp>
          <p:nvSpPr>
            <p:cNvPr id="11" name="Content Placeholder 6">
              <a:extLst>
                <a:ext uri="{FF2B5EF4-FFF2-40B4-BE49-F238E27FC236}">
                  <a16:creationId xmlns:a16="http://schemas.microsoft.com/office/drawing/2014/main" id="{5DB70153-9FDB-6FA6-B9A0-BB70EA51B891}"/>
                </a:ext>
              </a:extLst>
            </p:cNvPr>
            <p:cNvSpPr txBox="1">
              <a:spLocks/>
            </p:cNvSpPr>
            <p:nvPr/>
          </p:nvSpPr>
          <p:spPr>
            <a:xfrm>
              <a:off x="4637230" y="1660969"/>
              <a:ext cx="3673017" cy="176803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buFont typeface="Arial" panose="020B0604020202020204" pitchFamily="34" charset="0"/>
                <a:buChar char="•"/>
              </a:pPr>
              <a:r>
                <a:rPr lang="en-GB" sz="1200" b="1" i="0" u="none" strike="noStrike" dirty="0">
                  <a:solidFill>
                    <a:srgbClr val="000000"/>
                  </a:solidFill>
                  <a:effectLst/>
                </a:rPr>
                <a:t>Examine revenue streams: </a:t>
              </a:r>
              <a:r>
                <a:rPr lang="en-GB" sz="1200" b="0" i="0" u="none" strike="noStrike" dirty="0">
                  <a:solidFill>
                    <a:srgbClr val="000000"/>
                  </a:solidFill>
                  <a:effectLst/>
                </a:rPr>
                <a:t>subscription fees, transaction charges, and partnerships (</a:t>
              </a:r>
              <a:r>
                <a:rPr lang="en-GB" sz="1200" b="0" i="0" u="none" strike="noStrike" dirty="0" err="1">
                  <a:solidFill>
                    <a:srgbClr val="000000"/>
                  </a:solidFill>
                  <a:effectLst/>
                </a:rPr>
                <a:t>neobanks</a:t>
              </a:r>
              <a:r>
                <a:rPr lang="en-GB" sz="1200" b="0" i="0" u="none" strike="noStrike" dirty="0">
                  <a:solidFill>
                    <a:srgbClr val="000000"/>
                  </a:solidFill>
                  <a:effectLst/>
                </a:rPr>
                <a:t>) versus loan interest and wealth management (traditional banks).</a:t>
              </a:r>
              <a:endParaRPr lang="en-US" sz="1200" dirty="0"/>
            </a:p>
            <a:p>
              <a:pPr marL="285750" indent="-285750">
                <a:lnSpc>
                  <a:spcPct val="100000"/>
                </a:lnSpc>
                <a:spcBef>
                  <a:spcPts val="0"/>
                </a:spcBef>
                <a:buFont typeface="Arial" panose="020B0604020202020204" pitchFamily="34" charset="0"/>
                <a:buChar char="•"/>
              </a:pPr>
              <a:r>
                <a:rPr lang="en-GB" sz="1200" b="0" i="0" u="none" strike="noStrike" dirty="0">
                  <a:solidFill>
                    <a:srgbClr val="000000"/>
                  </a:solidFill>
                  <a:effectLst/>
                </a:rPr>
                <a:t>Identify the </a:t>
              </a:r>
              <a:r>
                <a:rPr lang="en-GB" sz="1200" b="1" i="0" u="none" strike="noStrike" dirty="0">
                  <a:solidFill>
                    <a:srgbClr val="000000"/>
                  </a:solidFill>
                  <a:effectLst/>
                </a:rPr>
                <a:t>types of customers </a:t>
              </a:r>
              <a:r>
                <a:rPr lang="en-GB" sz="1200" b="0" i="0" u="none" strike="noStrike" dirty="0">
                  <a:solidFill>
                    <a:srgbClr val="000000"/>
                  </a:solidFill>
                  <a:effectLst/>
                </a:rPr>
                <a:t>attracted by </a:t>
              </a:r>
              <a:r>
                <a:rPr lang="en-GB" sz="1200" b="0" i="0" u="none" strike="noStrike" dirty="0" err="1">
                  <a:solidFill>
                    <a:srgbClr val="000000"/>
                  </a:solidFill>
                  <a:effectLst/>
                </a:rPr>
                <a:t>neobanks</a:t>
              </a:r>
              <a:r>
                <a:rPr lang="en-GB" sz="1200" b="0" i="0" u="none" strike="noStrike" dirty="0">
                  <a:solidFill>
                    <a:srgbClr val="000000"/>
                  </a:solidFill>
                  <a:effectLst/>
                </a:rPr>
                <a:t> and traditional banks, focusing on demographics, average deposits, and retention rates.</a:t>
              </a:r>
              <a:endParaRPr lang="en-US" sz="1200" dirty="0"/>
            </a:p>
          </p:txBody>
        </p:sp>
        <p:sp>
          <p:nvSpPr>
            <p:cNvPr id="14" name="Content Placeholder 2">
              <a:extLst>
                <a:ext uri="{FF2B5EF4-FFF2-40B4-BE49-F238E27FC236}">
                  <a16:creationId xmlns:a16="http://schemas.microsoft.com/office/drawing/2014/main" id="{61631C9E-8363-C61F-CAEE-D9837CFDB709}"/>
                </a:ext>
              </a:extLst>
            </p:cNvPr>
            <p:cNvSpPr txBox="1">
              <a:spLocks/>
            </p:cNvSpPr>
            <p:nvPr/>
          </p:nvSpPr>
          <p:spPr>
            <a:xfrm>
              <a:off x="4577643" y="1310077"/>
              <a:ext cx="3624361"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i="0" u="none" strike="noStrike" dirty="0">
                  <a:effectLst/>
                </a:rPr>
                <a:t>Key Areas of Analysis</a:t>
              </a:r>
              <a:endParaRPr lang="en-US" sz="1600" dirty="0"/>
            </a:p>
          </p:txBody>
        </p:sp>
      </p:grpSp>
      <p:grpSp>
        <p:nvGrpSpPr>
          <p:cNvPr id="19" name="Group 18">
            <a:extLst>
              <a:ext uri="{FF2B5EF4-FFF2-40B4-BE49-F238E27FC236}">
                <a16:creationId xmlns:a16="http://schemas.microsoft.com/office/drawing/2014/main" id="{B56111F7-0667-465D-CC7A-AB443178E998}"/>
              </a:ext>
            </a:extLst>
          </p:cNvPr>
          <p:cNvGrpSpPr/>
          <p:nvPr/>
        </p:nvGrpSpPr>
        <p:grpSpPr>
          <a:xfrm>
            <a:off x="356695" y="5065525"/>
            <a:ext cx="3850936" cy="2097735"/>
            <a:chOff x="356695" y="5065525"/>
            <a:chExt cx="3850936" cy="2097735"/>
          </a:xfrm>
        </p:grpSpPr>
        <p:sp>
          <p:nvSpPr>
            <p:cNvPr id="15" name="Content Placeholder 2">
              <a:extLst>
                <a:ext uri="{FF2B5EF4-FFF2-40B4-BE49-F238E27FC236}">
                  <a16:creationId xmlns:a16="http://schemas.microsoft.com/office/drawing/2014/main" id="{EBB24D3E-187D-95E0-66B1-709A0060D60C}"/>
                </a:ext>
              </a:extLst>
            </p:cNvPr>
            <p:cNvSpPr txBox="1">
              <a:spLocks/>
            </p:cNvSpPr>
            <p:nvPr/>
          </p:nvSpPr>
          <p:spPr>
            <a:xfrm>
              <a:off x="356695" y="5065525"/>
              <a:ext cx="3624361"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eam members</a:t>
              </a:r>
            </a:p>
          </p:txBody>
        </p:sp>
        <p:sp>
          <p:nvSpPr>
            <p:cNvPr id="16" name="Content Placeholder 6">
              <a:extLst>
                <a:ext uri="{FF2B5EF4-FFF2-40B4-BE49-F238E27FC236}">
                  <a16:creationId xmlns:a16="http://schemas.microsoft.com/office/drawing/2014/main" id="{00F15586-2779-98CB-1062-170DA7FDD945}"/>
                </a:ext>
              </a:extLst>
            </p:cNvPr>
            <p:cNvSpPr txBox="1">
              <a:spLocks/>
            </p:cNvSpPr>
            <p:nvPr/>
          </p:nvSpPr>
          <p:spPr>
            <a:xfrm>
              <a:off x="381786" y="5395229"/>
              <a:ext cx="3825845" cy="176803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buFont typeface="Arial" panose="020B0604020202020204" pitchFamily="34" charset="0"/>
                <a:buChar char="•"/>
              </a:pPr>
              <a:r>
                <a:rPr lang="en-US" sz="1200" dirty="0"/>
                <a:t>3 - 4 students </a:t>
              </a:r>
            </a:p>
            <a:p>
              <a:pPr>
                <a:lnSpc>
                  <a:spcPct val="100000"/>
                </a:lnSpc>
                <a:spcBef>
                  <a:spcPts val="0"/>
                </a:spcBef>
              </a:pPr>
              <a:endParaRPr lang="en-US" sz="1200" dirty="0"/>
            </a:p>
            <a:p>
              <a:pPr marL="285750" indent="-285750">
                <a:lnSpc>
                  <a:spcPct val="100000"/>
                </a:lnSpc>
                <a:spcBef>
                  <a:spcPts val="0"/>
                </a:spcBef>
                <a:buFont typeface="Arial" panose="020B0604020202020204" pitchFamily="34" charset="0"/>
                <a:buChar char="•"/>
              </a:pPr>
              <a:r>
                <a:rPr lang="en-US" sz="1200" dirty="0">
                  <a:solidFill>
                    <a:srgbClr val="000000"/>
                  </a:solidFill>
                </a:rPr>
                <a:t>Individuals who have </a:t>
              </a:r>
              <a:r>
                <a:rPr lang="en-US" sz="1200" b="1" dirty="0">
                  <a:solidFill>
                    <a:srgbClr val="000000"/>
                  </a:solidFill>
                </a:rPr>
                <a:t>skills in financial analysis </a:t>
              </a:r>
              <a:r>
                <a:rPr lang="en-US" sz="1200" dirty="0">
                  <a:solidFill>
                    <a:srgbClr val="000000"/>
                  </a:solidFill>
                </a:rPr>
                <a:t>and software like </a:t>
              </a:r>
              <a:r>
                <a:rPr lang="en-US" sz="1200" b="1" dirty="0">
                  <a:solidFill>
                    <a:srgbClr val="000000"/>
                  </a:solidFill>
                </a:rPr>
                <a:t>Excel and Python/R</a:t>
              </a:r>
              <a:r>
                <a:rPr lang="en-US" sz="1200" dirty="0">
                  <a:solidFill>
                    <a:srgbClr val="000000"/>
                  </a:solidFill>
                </a:rPr>
                <a:t>. </a:t>
              </a:r>
            </a:p>
            <a:p>
              <a:pPr>
                <a:lnSpc>
                  <a:spcPct val="100000"/>
                </a:lnSpc>
                <a:spcBef>
                  <a:spcPts val="0"/>
                </a:spcBef>
              </a:pPr>
              <a:endParaRPr lang="en-US" sz="1200" dirty="0"/>
            </a:p>
          </p:txBody>
        </p:sp>
      </p:grpSp>
      <p:grpSp>
        <p:nvGrpSpPr>
          <p:cNvPr id="13" name="Group 12">
            <a:extLst>
              <a:ext uri="{FF2B5EF4-FFF2-40B4-BE49-F238E27FC236}">
                <a16:creationId xmlns:a16="http://schemas.microsoft.com/office/drawing/2014/main" id="{1AAFB15A-0382-3F51-2CE1-D279DA936377}"/>
              </a:ext>
            </a:extLst>
          </p:cNvPr>
          <p:cNvGrpSpPr/>
          <p:nvPr/>
        </p:nvGrpSpPr>
        <p:grpSpPr>
          <a:xfrm>
            <a:off x="356693" y="3840889"/>
            <a:ext cx="3850941" cy="1262962"/>
            <a:chOff x="356693" y="3840889"/>
            <a:chExt cx="3850941" cy="1262962"/>
          </a:xfrm>
        </p:grpSpPr>
        <p:sp>
          <p:nvSpPr>
            <p:cNvPr id="4" name="Content Placeholder 2">
              <a:extLst>
                <a:ext uri="{FF2B5EF4-FFF2-40B4-BE49-F238E27FC236}">
                  <a16:creationId xmlns:a16="http://schemas.microsoft.com/office/drawing/2014/main" id="{E9FDDF94-DF76-C466-7CB0-00DB0F87DBA2}"/>
                </a:ext>
              </a:extLst>
            </p:cNvPr>
            <p:cNvSpPr txBox="1">
              <a:spLocks/>
            </p:cNvSpPr>
            <p:nvPr/>
          </p:nvSpPr>
          <p:spPr>
            <a:xfrm>
              <a:off x="356693" y="3840889"/>
              <a:ext cx="3624361"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Methodologies: </a:t>
              </a:r>
            </a:p>
          </p:txBody>
        </p:sp>
        <p:sp>
          <p:nvSpPr>
            <p:cNvPr id="6" name="Content Placeholder 6">
              <a:extLst>
                <a:ext uri="{FF2B5EF4-FFF2-40B4-BE49-F238E27FC236}">
                  <a16:creationId xmlns:a16="http://schemas.microsoft.com/office/drawing/2014/main" id="{160DE7AD-D2B0-B500-39AA-5476C6F38DF0}"/>
                </a:ext>
              </a:extLst>
            </p:cNvPr>
            <p:cNvSpPr txBox="1">
              <a:spLocks/>
            </p:cNvSpPr>
            <p:nvPr/>
          </p:nvSpPr>
          <p:spPr>
            <a:xfrm>
              <a:off x="381789" y="4196080"/>
              <a:ext cx="3825845" cy="90777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buFont typeface="Arial" panose="020B0604020202020204" pitchFamily="34" charset="0"/>
                <a:buChar char="•"/>
              </a:pPr>
              <a:r>
                <a:rPr lang="en-GB" sz="1200" b="0" i="0" u="none" strike="noStrike" dirty="0">
                  <a:solidFill>
                    <a:srgbClr val="000000"/>
                  </a:solidFill>
                  <a:effectLst/>
                </a:rPr>
                <a:t>Analysis of financial statements, sector reports, and case studies</a:t>
              </a:r>
            </a:p>
            <a:p>
              <a:pPr marL="285750" indent="-285750">
                <a:lnSpc>
                  <a:spcPct val="100000"/>
                </a:lnSpc>
                <a:spcBef>
                  <a:spcPts val="0"/>
                </a:spcBef>
                <a:buFont typeface="Arial" panose="020B0604020202020204" pitchFamily="34" charset="0"/>
                <a:buChar char="•"/>
              </a:pPr>
              <a:r>
                <a:rPr lang="en-GB" sz="1200" b="0" i="0" u="none" strike="noStrike" dirty="0">
                  <a:solidFill>
                    <a:srgbClr val="000000"/>
                  </a:solidFill>
                  <a:effectLst/>
                  <a:latin typeface="Helvetica" pitchFamily="2" charset="0"/>
                </a:rPr>
                <a:t>Use of tools like </a:t>
              </a:r>
              <a:r>
                <a:rPr lang="en-GB" sz="1200" b="1" i="0" u="none" strike="noStrike" dirty="0">
                  <a:solidFill>
                    <a:srgbClr val="000000"/>
                  </a:solidFill>
                  <a:effectLst/>
                  <a:latin typeface="Helvetica" pitchFamily="2" charset="0"/>
                </a:rPr>
                <a:t>Excel, Python or R </a:t>
              </a:r>
              <a:r>
                <a:rPr lang="en-GB" sz="1200" b="0" i="0" u="none" strike="noStrike" dirty="0">
                  <a:solidFill>
                    <a:srgbClr val="000000"/>
                  </a:solidFill>
                  <a:effectLst/>
                  <a:latin typeface="Helvetica" pitchFamily="2" charset="0"/>
                </a:rPr>
                <a:t>for interactive and visually compelling analysis.</a:t>
              </a:r>
              <a:endParaRPr lang="en-US" sz="1200" dirty="0"/>
            </a:p>
          </p:txBody>
        </p:sp>
      </p:grpSp>
      <p:pic>
        <p:nvPicPr>
          <p:cNvPr id="6146" name="Picture 2" descr="Revolut Logo and symbol, meaning, history, PNG, brand">
            <a:extLst>
              <a:ext uri="{FF2B5EF4-FFF2-40B4-BE49-F238E27FC236}">
                <a16:creationId xmlns:a16="http://schemas.microsoft.com/office/drawing/2014/main" id="{3107F32C-5F9E-211F-546C-74F681C9B7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37407" y="3296817"/>
            <a:ext cx="1659569" cy="933507"/>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id="{8BDDC1A8-B3E4-E34B-EC06-9C18603962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2301" y="3435623"/>
            <a:ext cx="1172509" cy="615974"/>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Monzo - Wikipedia">
            <a:extLst>
              <a:ext uri="{FF2B5EF4-FFF2-40B4-BE49-F238E27FC236}">
                <a16:creationId xmlns:a16="http://schemas.microsoft.com/office/drawing/2014/main" id="{1D0F8D40-ACCB-B769-AF7B-5AE57777EB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37671" y="3795720"/>
            <a:ext cx="1844458" cy="1038167"/>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Difference Between Neobanks vs Traditional Banks">
            <a:extLst>
              <a:ext uri="{FF2B5EF4-FFF2-40B4-BE49-F238E27FC236}">
                <a16:creationId xmlns:a16="http://schemas.microsoft.com/office/drawing/2014/main" id="{6711A82F-F78C-C6FF-92F5-CCE110546D3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15681" y="4660341"/>
            <a:ext cx="3116113" cy="1696010"/>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3">
            <a:extLst>
              <a:ext uri="{FF2B5EF4-FFF2-40B4-BE49-F238E27FC236}">
                <a16:creationId xmlns:a16="http://schemas.microsoft.com/office/drawing/2014/main" id="{D3CF6378-83B6-13D0-33DE-2C8FED989711}"/>
              </a:ext>
            </a:extLst>
          </p:cNvPr>
          <p:cNvSpPr txBox="1">
            <a:spLocks/>
          </p:cNvSpPr>
          <p:nvPr/>
        </p:nvSpPr>
        <p:spPr>
          <a:xfrm>
            <a:off x="357680" y="6356351"/>
            <a:ext cx="20574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Arial" panose="020B0604020202020204" pitchFamily="34" charset="0"/>
                <a:cs typeface="Arial" panose="020B0604020202020204" pitchFamily="34" charset="0"/>
              </a:rPr>
              <a:t>November 20, 2024</a:t>
            </a:r>
          </a:p>
        </p:txBody>
      </p:sp>
    </p:spTree>
    <p:extLst>
      <p:ext uri="{BB962C8B-B14F-4D97-AF65-F5344CB8AC3E}">
        <p14:creationId xmlns:p14="http://schemas.microsoft.com/office/powerpoint/2010/main" val="27212984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D6F7E0B-DFFF-7049-A4F0-E0D9CD6B2422}"/>
              </a:ext>
            </a:extLst>
          </p:cNvPr>
          <p:cNvSpPr>
            <a:spLocks noGrp="1"/>
          </p:cNvSpPr>
          <p:nvPr>
            <p:ph type="title"/>
          </p:nvPr>
        </p:nvSpPr>
        <p:spPr/>
        <p:txBody>
          <a:bodyPr/>
          <a:lstStyle/>
          <a:p>
            <a:r>
              <a:rPr lang="en-US" dirty="0"/>
              <a:t>About Bocconi Students Fintech Society</a:t>
            </a:r>
          </a:p>
        </p:txBody>
      </p:sp>
      <p:sp>
        <p:nvSpPr>
          <p:cNvPr id="4" name="Segnaposto numero diapositiva 3">
            <a:extLst>
              <a:ext uri="{FF2B5EF4-FFF2-40B4-BE49-F238E27FC236}">
                <a16:creationId xmlns:a16="http://schemas.microsoft.com/office/drawing/2014/main" id="{903E94A6-3767-8046-BEE0-E23642DCA2B1}"/>
              </a:ext>
            </a:extLst>
          </p:cNvPr>
          <p:cNvSpPr>
            <a:spLocks noGrp="1"/>
          </p:cNvSpPr>
          <p:nvPr>
            <p:ph type="sldNum" sz="quarter" idx="12"/>
          </p:nvPr>
        </p:nvSpPr>
        <p:spPr/>
        <p:txBody>
          <a:bodyPr/>
          <a:lstStyle/>
          <a:p>
            <a:fld id="{330EA680-D336-4FF7-8B7A-9848BB0A1C32}" type="slidenum">
              <a:rPr lang="en-US" smtClean="0"/>
              <a:t>2</a:t>
            </a:fld>
            <a:endParaRPr lang="en-US" dirty="0"/>
          </a:p>
        </p:txBody>
      </p:sp>
      <p:sp>
        <p:nvSpPr>
          <p:cNvPr id="5" name="Segnaposto testo 4">
            <a:extLst>
              <a:ext uri="{FF2B5EF4-FFF2-40B4-BE49-F238E27FC236}">
                <a16:creationId xmlns:a16="http://schemas.microsoft.com/office/drawing/2014/main" id="{D05A6054-CE9F-EB42-99C3-66E275FBE11E}"/>
              </a:ext>
            </a:extLst>
          </p:cNvPr>
          <p:cNvSpPr>
            <a:spLocks noGrp="1"/>
          </p:cNvSpPr>
          <p:nvPr>
            <p:ph type="body" sz="quarter" idx="13"/>
          </p:nvPr>
        </p:nvSpPr>
        <p:spPr/>
        <p:txBody>
          <a:bodyPr/>
          <a:lstStyle/>
          <a:p>
            <a:r>
              <a:rPr lang="it-IT" b="1" dirty="0" err="1">
                <a:solidFill>
                  <a:schemeClr val="tx1"/>
                </a:solidFill>
              </a:rPr>
              <a:t>Our</a:t>
            </a:r>
            <a:r>
              <a:rPr lang="it-IT" b="1" dirty="0">
                <a:solidFill>
                  <a:schemeClr val="tx1"/>
                </a:solidFill>
              </a:rPr>
              <a:t> mission and the </a:t>
            </a:r>
            <a:r>
              <a:rPr lang="it-IT" b="1" dirty="0" err="1">
                <a:solidFill>
                  <a:schemeClr val="tx1"/>
                </a:solidFill>
              </a:rPr>
              <a:t>divisions</a:t>
            </a:r>
            <a:endParaRPr lang="it-IT" b="1" dirty="0">
              <a:solidFill>
                <a:schemeClr val="tx1"/>
              </a:solidFill>
            </a:endParaRPr>
          </a:p>
        </p:txBody>
      </p:sp>
      <p:sp>
        <p:nvSpPr>
          <p:cNvPr id="6" name="Rettangolo 5">
            <a:extLst>
              <a:ext uri="{FF2B5EF4-FFF2-40B4-BE49-F238E27FC236}">
                <a16:creationId xmlns:a16="http://schemas.microsoft.com/office/drawing/2014/main" id="{38EA39F9-73A3-F14F-AA95-A5B7CA1506F6}"/>
              </a:ext>
            </a:extLst>
          </p:cNvPr>
          <p:cNvSpPr/>
          <p:nvPr/>
        </p:nvSpPr>
        <p:spPr>
          <a:xfrm>
            <a:off x="4450813" y="3244334"/>
            <a:ext cx="242374" cy="369332"/>
          </a:xfrm>
          <a:prstGeom prst="rect">
            <a:avLst/>
          </a:prstGeom>
        </p:spPr>
        <p:txBody>
          <a:bodyPr wrap="none">
            <a:spAutoFit/>
          </a:bodyPr>
          <a:lstStyle/>
          <a:p>
            <a:r>
              <a:rPr lang="it-IT"/>
              <a:t> </a:t>
            </a:r>
          </a:p>
        </p:txBody>
      </p:sp>
      <p:sp>
        <p:nvSpPr>
          <p:cNvPr id="10" name="Content Placeholder 2">
            <a:extLst>
              <a:ext uri="{FF2B5EF4-FFF2-40B4-BE49-F238E27FC236}">
                <a16:creationId xmlns:a16="http://schemas.microsoft.com/office/drawing/2014/main" id="{9848A027-3F4C-7148-9BBB-CE1FA1F6A9C4}"/>
              </a:ext>
            </a:extLst>
          </p:cNvPr>
          <p:cNvSpPr txBox="1">
            <a:spLocks/>
          </p:cNvSpPr>
          <p:nvPr/>
        </p:nvSpPr>
        <p:spPr>
          <a:xfrm>
            <a:off x="356695" y="1412833"/>
            <a:ext cx="8429625" cy="51554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4"/>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500" b="1" i="0" u="none" strike="noStrike" dirty="0">
                <a:solidFill>
                  <a:schemeClr val="tx2"/>
                </a:solidFill>
                <a:effectLst/>
              </a:rPr>
              <a:t>The Bocconi Students Fintech Society is a community of passionate Bocconi University students with deep interest and expertise in financial technologies.</a:t>
            </a:r>
            <a:endParaRPr lang="en-CH" sz="1500" b="1">
              <a:solidFill>
                <a:schemeClr val="tx2"/>
              </a:solidFill>
            </a:endParaRPr>
          </a:p>
        </p:txBody>
      </p:sp>
      <p:sp>
        <p:nvSpPr>
          <p:cNvPr id="11" name="Rectangle: Rounded Corners 42">
            <a:extLst>
              <a:ext uri="{FF2B5EF4-FFF2-40B4-BE49-F238E27FC236}">
                <a16:creationId xmlns:a16="http://schemas.microsoft.com/office/drawing/2014/main" id="{5D94457B-D0FE-2844-9FE0-582134CECBAC}"/>
              </a:ext>
            </a:extLst>
          </p:cNvPr>
          <p:cNvSpPr/>
          <p:nvPr/>
        </p:nvSpPr>
        <p:spPr>
          <a:xfrm>
            <a:off x="356695" y="2065966"/>
            <a:ext cx="8429625" cy="1227612"/>
          </a:xfrm>
          <a:prstGeom prst="roundRect">
            <a:avLst/>
          </a:prstGeom>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0" i="0" u="none" strike="noStrike" dirty="0">
                <a:solidFill>
                  <a:srgbClr val="000000"/>
                </a:solidFill>
                <a:effectLst/>
                <a:latin typeface="Arial" panose="020B0604020202020204" pitchFamily="34" charset="0"/>
                <a:cs typeface="Arial" panose="020B0604020202020204" pitchFamily="34" charset="0"/>
              </a:rPr>
              <a:t>Our mission is to raise awareness about </a:t>
            </a:r>
            <a:r>
              <a:rPr lang="en-GB" sz="1000" b="1" i="0" u="none" strike="noStrike" dirty="0">
                <a:solidFill>
                  <a:srgbClr val="000000"/>
                </a:solidFill>
                <a:effectLst/>
                <a:latin typeface="Arial" panose="020B0604020202020204" pitchFamily="34" charset="0"/>
                <a:cs typeface="Arial" panose="020B0604020202020204" pitchFamily="34" charset="0"/>
              </a:rPr>
              <a:t>fintech's transformative potential while providing guidance </a:t>
            </a:r>
            <a:r>
              <a:rPr lang="en-GB" sz="1000" b="0" i="0" u="none" strike="noStrike" dirty="0">
                <a:solidFill>
                  <a:srgbClr val="000000"/>
                </a:solidFill>
                <a:effectLst/>
                <a:latin typeface="Arial" panose="020B0604020202020204" pitchFamily="34" charset="0"/>
                <a:cs typeface="Arial" panose="020B0604020202020204" pitchFamily="34" charset="0"/>
              </a:rPr>
              <a:t>for students exploring career opportunities in this dynamic field.</a:t>
            </a:r>
          </a:p>
          <a:p>
            <a:pPr algn="ctr"/>
            <a:r>
              <a:rPr lang="en-GB" sz="1000" b="0" i="0" u="none" strike="noStrike" dirty="0">
                <a:solidFill>
                  <a:srgbClr val="000000"/>
                </a:solidFill>
                <a:effectLst/>
                <a:latin typeface="Arial" panose="020B0604020202020204" pitchFamily="34" charset="0"/>
                <a:cs typeface="Arial" panose="020B0604020202020204" pitchFamily="34" charset="0"/>
              </a:rPr>
              <a:t>Our primary goal is to </a:t>
            </a:r>
            <a:r>
              <a:rPr lang="en-GB" sz="1000" b="1" i="0" u="none" strike="noStrike" dirty="0">
                <a:solidFill>
                  <a:srgbClr val="000000"/>
                </a:solidFill>
                <a:effectLst/>
                <a:latin typeface="Arial" panose="020B0604020202020204" pitchFamily="34" charset="0"/>
                <a:cs typeface="Arial" panose="020B0604020202020204" pitchFamily="34" charset="0"/>
              </a:rPr>
              <a:t>cultivate and share insights into the pivotal role of companies reshaping global financial services</a:t>
            </a:r>
            <a:r>
              <a:rPr lang="en-GB" sz="1000" b="0" i="0" u="none" strike="noStrike" dirty="0">
                <a:solidFill>
                  <a:srgbClr val="000000"/>
                </a:solidFill>
                <a:effectLst/>
                <a:latin typeface="Arial" panose="020B0604020202020204" pitchFamily="34" charset="0"/>
                <a:cs typeface="Arial" panose="020B0604020202020204" pitchFamily="34" charset="0"/>
              </a:rPr>
              <a:t>. We bring together ambitious students eager to embrace challenges and delve into the future of finance.</a:t>
            </a:r>
          </a:p>
          <a:p>
            <a:pPr algn="ctr"/>
            <a:r>
              <a:rPr lang="en-GB" sz="1000" b="0" i="0" u="none" strike="noStrike" dirty="0">
                <a:solidFill>
                  <a:srgbClr val="000000"/>
                </a:solidFill>
                <a:effectLst/>
                <a:latin typeface="Arial" panose="020B0604020202020204" pitchFamily="34" charset="0"/>
                <a:cs typeface="Arial" panose="020B0604020202020204" pitchFamily="34" charset="0"/>
              </a:rPr>
              <a:t>Since </a:t>
            </a:r>
            <a:r>
              <a:rPr lang="en-GB" sz="1000" b="1" i="0" u="none" strike="noStrike" dirty="0">
                <a:solidFill>
                  <a:srgbClr val="000000"/>
                </a:solidFill>
                <a:effectLst/>
                <a:latin typeface="Arial" panose="020B0604020202020204" pitchFamily="34" charset="0"/>
                <a:cs typeface="Arial" panose="020B0604020202020204" pitchFamily="34" charset="0"/>
              </a:rPr>
              <a:t>our establishment in 2017</a:t>
            </a:r>
            <a:r>
              <a:rPr lang="en-GB" sz="1000" b="0" i="0" u="none" strike="noStrike" dirty="0">
                <a:solidFill>
                  <a:srgbClr val="000000"/>
                </a:solidFill>
                <a:effectLst/>
                <a:latin typeface="Arial" panose="020B0604020202020204" pitchFamily="34" charset="0"/>
                <a:cs typeface="Arial" panose="020B0604020202020204" pitchFamily="34" charset="0"/>
              </a:rPr>
              <a:t>, we have been the </a:t>
            </a:r>
            <a:r>
              <a:rPr lang="en-GB" sz="1000" b="1" i="0" u="none" strike="noStrike" dirty="0">
                <a:solidFill>
                  <a:srgbClr val="000000"/>
                </a:solidFill>
                <a:effectLst/>
                <a:latin typeface="Arial" panose="020B0604020202020204" pitchFamily="34" charset="0"/>
                <a:cs typeface="Arial" panose="020B0604020202020204" pitchFamily="34" charset="0"/>
              </a:rPr>
              <a:t>leading fintech association at Bocconi University</a:t>
            </a:r>
            <a:r>
              <a:rPr lang="en-GB" sz="1000" b="0" i="0" u="none" strike="noStrike" dirty="0">
                <a:solidFill>
                  <a:srgbClr val="000000"/>
                </a:solidFill>
                <a:effectLst/>
                <a:latin typeface="Arial" panose="020B0604020202020204" pitchFamily="34" charset="0"/>
                <a:cs typeface="Arial" panose="020B0604020202020204" pitchFamily="34" charset="0"/>
              </a:rPr>
              <a:t>, consistently creating innovative ideas and opportunities for our members.</a:t>
            </a:r>
          </a:p>
        </p:txBody>
      </p:sp>
      <p:grpSp>
        <p:nvGrpSpPr>
          <p:cNvPr id="62" name="object 6">
            <a:extLst>
              <a:ext uri="{FF2B5EF4-FFF2-40B4-BE49-F238E27FC236}">
                <a16:creationId xmlns:a16="http://schemas.microsoft.com/office/drawing/2014/main" id="{170BBBBF-5B45-7293-96CC-12A427EAD100}"/>
              </a:ext>
            </a:extLst>
          </p:cNvPr>
          <p:cNvGrpSpPr/>
          <p:nvPr/>
        </p:nvGrpSpPr>
        <p:grpSpPr>
          <a:xfrm>
            <a:off x="6784976" y="3894287"/>
            <a:ext cx="1998100" cy="1684020"/>
            <a:chOff x="4664466" y="3894287"/>
            <a:chExt cx="4118610" cy="1684020"/>
          </a:xfrm>
        </p:grpSpPr>
        <p:sp>
          <p:nvSpPr>
            <p:cNvPr id="63" name="object 7">
              <a:extLst>
                <a:ext uri="{FF2B5EF4-FFF2-40B4-BE49-F238E27FC236}">
                  <a16:creationId xmlns:a16="http://schemas.microsoft.com/office/drawing/2014/main" id="{EEE57E65-9377-3387-9228-65A9355CDF87}"/>
                </a:ext>
              </a:extLst>
            </p:cNvPr>
            <p:cNvSpPr/>
            <p:nvPr/>
          </p:nvSpPr>
          <p:spPr>
            <a:xfrm>
              <a:off x="4664466" y="3894287"/>
              <a:ext cx="4118610" cy="1684020"/>
            </a:xfrm>
            <a:custGeom>
              <a:avLst/>
              <a:gdLst/>
              <a:ahLst/>
              <a:cxnLst/>
              <a:rect l="l" t="t" r="r" b="b"/>
              <a:pathLst>
                <a:path w="4118609" h="1684020">
                  <a:moveTo>
                    <a:pt x="0" y="280597"/>
                  </a:moveTo>
                  <a:lnTo>
                    <a:pt x="3672" y="235082"/>
                  </a:lnTo>
                  <a:lnTo>
                    <a:pt x="14305" y="191906"/>
                  </a:lnTo>
                  <a:lnTo>
                    <a:pt x="31319" y="151646"/>
                  </a:lnTo>
                  <a:lnTo>
                    <a:pt x="54138" y="114880"/>
                  </a:lnTo>
                  <a:lnTo>
                    <a:pt x="82184" y="82184"/>
                  </a:lnTo>
                  <a:lnTo>
                    <a:pt x="114880" y="54138"/>
                  </a:lnTo>
                  <a:lnTo>
                    <a:pt x="151646" y="31319"/>
                  </a:lnTo>
                  <a:lnTo>
                    <a:pt x="191906" y="14305"/>
                  </a:lnTo>
                  <a:lnTo>
                    <a:pt x="235082" y="3672"/>
                  </a:lnTo>
                  <a:lnTo>
                    <a:pt x="280597" y="0"/>
                  </a:lnTo>
                  <a:lnTo>
                    <a:pt x="3837433" y="0"/>
                  </a:lnTo>
                  <a:lnTo>
                    <a:pt x="3882947" y="3672"/>
                  </a:lnTo>
                  <a:lnTo>
                    <a:pt x="3926123" y="14305"/>
                  </a:lnTo>
                  <a:lnTo>
                    <a:pt x="3966383" y="31319"/>
                  </a:lnTo>
                  <a:lnTo>
                    <a:pt x="4003149" y="54138"/>
                  </a:lnTo>
                  <a:lnTo>
                    <a:pt x="4035844" y="82184"/>
                  </a:lnTo>
                  <a:lnTo>
                    <a:pt x="4063890" y="114880"/>
                  </a:lnTo>
                  <a:lnTo>
                    <a:pt x="4086710" y="151646"/>
                  </a:lnTo>
                  <a:lnTo>
                    <a:pt x="4103724" y="191906"/>
                  </a:lnTo>
                  <a:lnTo>
                    <a:pt x="4114357" y="235082"/>
                  </a:lnTo>
                  <a:lnTo>
                    <a:pt x="4118030" y="280597"/>
                  </a:lnTo>
                  <a:lnTo>
                    <a:pt x="4118030" y="1402954"/>
                  </a:lnTo>
                  <a:lnTo>
                    <a:pt x="4114357" y="1448468"/>
                  </a:lnTo>
                  <a:lnTo>
                    <a:pt x="4103724" y="1491644"/>
                  </a:lnTo>
                  <a:lnTo>
                    <a:pt x="4086710" y="1531904"/>
                  </a:lnTo>
                  <a:lnTo>
                    <a:pt x="4063890" y="1568670"/>
                  </a:lnTo>
                  <a:lnTo>
                    <a:pt x="4035844" y="1601365"/>
                  </a:lnTo>
                  <a:lnTo>
                    <a:pt x="4003149" y="1629411"/>
                  </a:lnTo>
                  <a:lnTo>
                    <a:pt x="3966383" y="1652231"/>
                  </a:lnTo>
                  <a:lnTo>
                    <a:pt x="3926123" y="1669245"/>
                  </a:lnTo>
                  <a:lnTo>
                    <a:pt x="3882947" y="1679878"/>
                  </a:lnTo>
                  <a:lnTo>
                    <a:pt x="3837433" y="1683551"/>
                  </a:lnTo>
                  <a:lnTo>
                    <a:pt x="280597" y="1683551"/>
                  </a:lnTo>
                  <a:lnTo>
                    <a:pt x="235082" y="1679878"/>
                  </a:lnTo>
                  <a:lnTo>
                    <a:pt x="191906" y="1669245"/>
                  </a:lnTo>
                  <a:lnTo>
                    <a:pt x="151646" y="1652231"/>
                  </a:lnTo>
                  <a:lnTo>
                    <a:pt x="114880" y="1629411"/>
                  </a:lnTo>
                  <a:lnTo>
                    <a:pt x="82184" y="1601365"/>
                  </a:lnTo>
                  <a:lnTo>
                    <a:pt x="54138" y="1568670"/>
                  </a:lnTo>
                  <a:lnTo>
                    <a:pt x="31319" y="1531904"/>
                  </a:lnTo>
                  <a:lnTo>
                    <a:pt x="14305" y="1491644"/>
                  </a:lnTo>
                  <a:lnTo>
                    <a:pt x="3672" y="1448468"/>
                  </a:lnTo>
                  <a:lnTo>
                    <a:pt x="0" y="1402954"/>
                  </a:lnTo>
                  <a:lnTo>
                    <a:pt x="0" y="280597"/>
                  </a:lnTo>
                  <a:close/>
                </a:path>
              </a:pathLst>
            </a:custGeom>
            <a:ln w="3175">
              <a:solidFill>
                <a:srgbClr val="207997"/>
              </a:solidFill>
            </a:ln>
          </p:spPr>
          <p:txBody>
            <a:bodyPr wrap="square" lIns="0" tIns="0" rIns="0" bIns="0" rtlCol="0"/>
            <a:lstStyle/>
            <a:p>
              <a:endParaRPr/>
            </a:p>
          </p:txBody>
        </p:sp>
        <p:pic>
          <p:nvPicPr>
            <p:cNvPr id="64" name="object 9">
              <a:extLst>
                <a:ext uri="{FF2B5EF4-FFF2-40B4-BE49-F238E27FC236}">
                  <a16:creationId xmlns:a16="http://schemas.microsoft.com/office/drawing/2014/main" id="{D2DCCBBB-48E7-A103-BA62-0BF2D72ADE07}"/>
                </a:ext>
              </a:extLst>
            </p:cNvPr>
            <p:cNvPicPr/>
            <p:nvPr/>
          </p:nvPicPr>
          <p:blipFill>
            <a:blip r:embed="rId3" cstate="email">
              <a:extLst>
                <a:ext uri="{28A0092B-C50C-407E-A947-70E740481C1C}">
                  <a14:useLocalDpi xmlns:a14="http://schemas.microsoft.com/office/drawing/2010/main"/>
                </a:ext>
              </a:extLst>
            </a:blip>
            <a:stretch>
              <a:fillRect/>
            </a:stretch>
          </p:blipFill>
          <p:spPr>
            <a:xfrm>
              <a:off x="4934537" y="4510108"/>
              <a:ext cx="788734" cy="327600"/>
            </a:xfrm>
            <a:prstGeom prst="rect">
              <a:avLst/>
            </a:prstGeom>
          </p:spPr>
        </p:pic>
      </p:grpSp>
      <p:sp>
        <p:nvSpPr>
          <p:cNvPr id="66" name="object 13">
            <a:extLst>
              <a:ext uri="{FF2B5EF4-FFF2-40B4-BE49-F238E27FC236}">
                <a16:creationId xmlns:a16="http://schemas.microsoft.com/office/drawing/2014/main" id="{3CF940C7-5C96-4715-E45C-C21F820AD2F4}"/>
              </a:ext>
            </a:extLst>
          </p:cNvPr>
          <p:cNvSpPr/>
          <p:nvPr/>
        </p:nvSpPr>
        <p:spPr>
          <a:xfrm>
            <a:off x="6629400" y="3513287"/>
            <a:ext cx="0" cy="2065020"/>
          </a:xfrm>
          <a:custGeom>
            <a:avLst/>
            <a:gdLst/>
            <a:ahLst/>
            <a:cxnLst/>
            <a:rect l="l" t="t" r="r" b="b"/>
            <a:pathLst>
              <a:path h="2065020">
                <a:moveTo>
                  <a:pt x="0" y="0"/>
                </a:moveTo>
                <a:lnTo>
                  <a:pt x="1" y="2065020"/>
                </a:lnTo>
              </a:path>
            </a:pathLst>
          </a:custGeom>
          <a:ln w="3175">
            <a:solidFill>
              <a:srgbClr val="000000"/>
            </a:solidFill>
          </a:ln>
        </p:spPr>
        <p:txBody>
          <a:bodyPr wrap="square" lIns="0" tIns="0" rIns="0" bIns="0" rtlCol="0"/>
          <a:lstStyle/>
          <a:p>
            <a:endParaRPr/>
          </a:p>
        </p:txBody>
      </p:sp>
      <p:sp>
        <p:nvSpPr>
          <p:cNvPr id="67" name="object 14">
            <a:extLst>
              <a:ext uri="{FF2B5EF4-FFF2-40B4-BE49-F238E27FC236}">
                <a16:creationId xmlns:a16="http://schemas.microsoft.com/office/drawing/2014/main" id="{2D037F8B-2145-F5DE-8D86-B599C4C87975}"/>
              </a:ext>
            </a:extLst>
          </p:cNvPr>
          <p:cNvSpPr txBox="1"/>
          <p:nvPr/>
        </p:nvSpPr>
        <p:spPr>
          <a:xfrm>
            <a:off x="7435780" y="4124452"/>
            <a:ext cx="1168400" cy="302647"/>
          </a:xfrm>
          <a:prstGeom prst="rect">
            <a:avLst/>
          </a:prstGeom>
        </p:spPr>
        <p:txBody>
          <a:bodyPr vert="horz" wrap="square" lIns="0" tIns="12700" rIns="0" bIns="0" rtlCol="0" anchor="t">
            <a:spAutoFit/>
          </a:bodyPr>
          <a:lstStyle/>
          <a:p>
            <a:pPr marL="12700">
              <a:lnSpc>
                <a:spcPct val="100000"/>
              </a:lnSpc>
              <a:spcBef>
                <a:spcPts val="100"/>
              </a:spcBef>
            </a:pPr>
            <a:r>
              <a:rPr sz="1000" b="1" spc="-5" dirty="0">
                <a:latin typeface="Arial"/>
                <a:cs typeface="Arial"/>
              </a:rPr>
              <a:t>+</a:t>
            </a:r>
            <a:r>
              <a:rPr lang="fr-FR" sz="1000" b="1" spc="-5" dirty="0">
                <a:latin typeface="Arial"/>
                <a:cs typeface="Arial"/>
              </a:rPr>
              <a:t>45</a:t>
            </a:r>
            <a:r>
              <a:rPr sz="1000" b="1" spc="-40" dirty="0">
                <a:latin typeface="Arial"/>
                <a:cs typeface="Arial"/>
              </a:rPr>
              <a:t> </a:t>
            </a:r>
            <a:r>
              <a:rPr sz="1000" spc="-5" dirty="0">
                <a:latin typeface="Arial MT"/>
                <a:cs typeface="Arial MT"/>
              </a:rPr>
              <a:t>active</a:t>
            </a:r>
            <a:r>
              <a:rPr sz="1000" spc="-40" dirty="0">
                <a:latin typeface="Arial MT"/>
                <a:cs typeface="Arial MT"/>
              </a:rPr>
              <a:t> </a:t>
            </a:r>
            <a:r>
              <a:rPr sz="1000" spc="-5" dirty="0">
                <a:latin typeface="Arial MT"/>
                <a:cs typeface="Arial MT"/>
              </a:rPr>
              <a:t>Members</a:t>
            </a:r>
            <a:endParaRPr lang="fr-FR" sz="1000" spc="-5" dirty="0">
              <a:latin typeface="Arial MT"/>
              <a:cs typeface="Arial MT"/>
            </a:endParaRPr>
          </a:p>
          <a:p>
            <a:pPr marL="12700">
              <a:lnSpc>
                <a:spcPct val="100000"/>
              </a:lnSpc>
              <a:spcBef>
                <a:spcPts val="100"/>
              </a:spcBef>
            </a:pPr>
            <a:r>
              <a:rPr lang="en-IT" sz="800" spc="-5" dirty="0">
                <a:latin typeface="Arial MT"/>
                <a:cs typeface="Arial MT"/>
              </a:rPr>
              <a:t>(+ students in exchange)</a:t>
            </a:r>
            <a:endParaRPr sz="800" dirty="0">
              <a:latin typeface="Arial MT"/>
              <a:cs typeface="Arial MT"/>
            </a:endParaRPr>
          </a:p>
        </p:txBody>
      </p:sp>
      <p:sp>
        <p:nvSpPr>
          <p:cNvPr id="68" name="object 15">
            <a:extLst>
              <a:ext uri="{FF2B5EF4-FFF2-40B4-BE49-F238E27FC236}">
                <a16:creationId xmlns:a16="http://schemas.microsoft.com/office/drawing/2014/main" id="{3022681E-1BB7-2F90-4D2E-585F88B4B9B1}"/>
              </a:ext>
            </a:extLst>
          </p:cNvPr>
          <p:cNvSpPr txBox="1"/>
          <p:nvPr/>
        </p:nvSpPr>
        <p:spPr>
          <a:xfrm>
            <a:off x="7429666" y="4613477"/>
            <a:ext cx="1352831" cy="320601"/>
          </a:xfrm>
          <a:prstGeom prst="rect">
            <a:avLst/>
          </a:prstGeom>
        </p:spPr>
        <p:txBody>
          <a:bodyPr vert="horz" wrap="square" lIns="0" tIns="12700" rIns="0" bIns="0" rtlCol="0" anchor="t">
            <a:spAutoFit/>
          </a:bodyPr>
          <a:lstStyle/>
          <a:p>
            <a:pPr marL="12700">
              <a:lnSpc>
                <a:spcPct val="100000"/>
              </a:lnSpc>
              <a:spcBef>
                <a:spcPts val="100"/>
              </a:spcBef>
            </a:pPr>
            <a:r>
              <a:rPr sz="1000" b="1" spc="-5" dirty="0">
                <a:latin typeface="Arial"/>
                <a:cs typeface="Arial"/>
              </a:rPr>
              <a:t>+</a:t>
            </a:r>
            <a:r>
              <a:rPr lang="fr-FR" sz="1000" b="1" spc="-5" dirty="0">
                <a:latin typeface="Arial"/>
                <a:cs typeface="Arial"/>
              </a:rPr>
              <a:t>40</a:t>
            </a:r>
            <a:r>
              <a:rPr sz="1000" b="1" spc="-25" dirty="0">
                <a:latin typeface="Arial"/>
                <a:cs typeface="Arial"/>
              </a:rPr>
              <a:t> </a:t>
            </a:r>
            <a:r>
              <a:rPr lang="fr-FR" sz="1000" spc="-5" dirty="0">
                <a:latin typeface="Arial MT"/>
                <a:cs typeface="Arial"/>
              </a:rPr>
              <a:t>Reports &amp; Slide sets</a:t>
            </a:r>
            <a:endParaRPr sz="1000" dirty="0">
              <a:latin typeface="Arial MT"/>
              <a:cs typeface="Arial MT"/>
            </a:endParaRPr>
          </a:p>
        </p:txBody>
      </p:sp>
      <p:pic>
        <p:nvPicPr>
          <p:cNvPr id="69" name="object 17">
            <a:extLst>
              <a:ext uri="{FF2B5EF4-FFF2-40B4-BE49-F238E27FC236}">
                <a16:creationId xmlns:a16="http://schemas.microsoft.com/office/drawing/2014/main" id="{41A318A2-9B80-6BCF-2799-AEDC801C41F5}"/>
              </a:ext>
            </a:extLst>
          </p:cNvPr>
          <p:cNvPicPr/>
          <p:nvPr/>
        </p:nvPicPr>
        <p:blipFill>
          <a:blip r:embed="rId4" cstate="email">
            <a:extLst>
              <a:ext uri="{28A0092B-C50C-407E-A947-70E740481C1C}">
                <a14:useLocalDpi xmlns:a14="http://schemas.microsoft.com/office/drawing/2010/main"/>
              </a:ext>
            </a:extLst>
          </a:blip>
          <a:stretch>
            <a:fillRect/>
          </a:stretch>
        </p:blipFill>
        <p:spPr>
          <a:xfrm>
            <a:off x="6941205" y="5028903"/>
            <a:ext cx="332232" cy="332231"/>
          </a:xfrm>
          <a:prstGeom prst="rect">
            <a:avLst/>
          </a:prstGeom>
        </p:spPr>
      </p:pic>
      <p:sp>
        <p:nvSpPr>
          <p:cNvPr id="70" name="object 21">
            <a:extLst>
              <a:ext uri="{FF2B5EF4-FFF2-40B4-BE49-F238E27FC236}">
                <a16:creationId xmlns:a16="http://schemas.microsoft.com/office/drawing/2014/main" id="{96820343-13F9-E2AE-2D35-D59FBC5F6D62}"/>
              </a:ext>
            </a:extLst>
          </p:cNvPr>
          <p:cNvSpPr txBox="1"/>
          <p:nvPr/>
        </p:nvSpPr>
        <p:spPr>
          <a:xfrm>
            <a:off x="7429666" y="5111662"/>
            <a:ext cx="1352831" cy="320601"/>
          </a:xfrm>
          <a:prstGeom prst="rect">
            <a:avLst/>
          </a:prstGeom>
        </p:spPr>
        <p:txBody>
          <a:bodyPr vert="horz" wrap="square" lIns="0" tIns="12700" rIns="0" bIns="0" rtlCol="0" anchor="t">
            <a:spAutoFit/>
          </a:bodyPr>
          <a:lstStyle/>
          <a:p>
            <a:pPr marL="12700">
              <a:lnSpc>
                <a:spcPct val="100000"/>
              </a:lnSpc>
              <a:spcBef>
                <a:spcPts val="100"/>
              </a:spcBef>
            </a:pPr>
            <a:r>
              <a:rPr sz="1000" b="1" spc="-5" dirty="0">
                <a:latin typeface="Arial"/>
                <a:cs typeface="Arial"/>
              </a:rPr>
              <a:t>+</a:t>
            </a:r>
            <a:r>
              <a:rPr lang="fr-FR" sz="1000" b="1" spc="-5" dirty="0">
                <a:latin typeface="Arial"/>
                <a:cs typeface="Arial"/>
              </a:rPr>
              <a:t>25</a:t>
            </a:r>
            <a:r>
              <a:rPr sz="1000" b="1" spc="-30" dirty="0">
                <a:latin typeface="Arial"/>
                <a:cs typeface="Arial"/>
              </a:rPr>
              <a:t> </a:t>
            </a:r>
            <a:r>
              <a:rPr sz="1000" spc="-5" dirty="0">
                <a:latin typeface="Arial MT"/>
                <a:cs typeface="Arial MT"/>
              </a:rPr>
              <a:t>Interviews</a:t>
            </a:r>
            <a:r>
              <a:rPr lang="fr-FR" sz="1000" spc="-5" dirty="0">
                <a:latin typeface="Arial MT"/>
                <a:cs typeface="Arial MT"/>
              </a:rPr>
              <a:t> </a:t>
            </a:r>
            <a:r>
              <a:rPr lang="fr-FR" sz="1000" spc="-5" dirty="0" err="1">
                <a:latin typeface="Arial MT"/>
                <a:cs typeface="Arial MT"/>
              </a:rPr>
              <a:t>available</a:t>
            </a:r>
            <a:r>
              <a:rPr lang="fr-FR" sz="1000" spc="-5" dirty="0">
                <a:latin typeface="Arial MT"/>
                <a:cs typeface="Arial MT"/>
              </a:rPr>
              <a:t> on </a:t>
            </a:r>
            <a:r>
              <a:rPr lang="fr-FR" sz="1000" spc="-5" dirty="0" err="1">
                <a:latin typeface="Arial MT"/>
                <a:cs typeface="Arial MT"/>
              </a:rPr>
              <a:t>our</a:t>
            </a:r>
            <a:r>
              <a:rPr lang="fr-FR" sz="1000" spc="-5" dirty="0">
                <a:latin typeface="Arial MT"/>
                <a:cs typeface="Arial MT"/>
              </a:rPr>
              <a:t> </a:t>
            </a:r>
            <a:r>
              <a:rPr lang="fr-FR" sz="1000" spc="-5" dirty="0" err="1">
                <a:latin typeface="Arial MT"/>
                <a:cs typeface="Arial MT"/>
              </a:rPr>
              <a:t>website</a:t>
            </a:r>
            <a:endParaRPr sz="1000" dirty="0">
              <a:latin typeface="Arial MT"/>
              <a:cs typeface="Arial MT"/>
            </a:endParaRPr>
          </a:p>
        </p:txBody>
      </p:sp>
      <p:sp>
        <p:nvSpPr>
          <p:cNvPr id="71" name="object 25">
            <a:extLst>
              <a:ext uri="{FF2B5EF4-FFF2-40B4-BE49-F238E27FC236}">
                <a16:creationId xmlns:a16="http://schemas.microsoft.com/office/drawing/2014/main" id="{D53ADCB9-66F1-5C86-2771-FECF60B0014E}"/>
              </a:ext>
            </a:extLst>
          </p:cNvPr>
          <p:cNvSpPr/>
          <p:nvPr/>
        </p:nvSpPr>
        <p:spPr>
          <a:xfrm>
            <a:off x="361503" y="3894288"/>
            <a:ext cx="1296035" cy="1684020"/>
          </a:xfrm>
          <a:custGeom>
            <a:avLst/>
            <a:gdLst/>
            <a:ahLst/>
            <a:cxnLst/>
            <a:rect l="l" t="t" r="r" b="b"/>
            <a:pathLst>
              <a:path w="1296035" h="1684020">
                <a:moveTo>
                  <a:pt x="0" y="216004"/>
                </a:moveTo>
                <a:lnTo>
                  <a:pt x="5704" y="166476"/>
                </a:lnTo>
                <a:lnTo>
                  <a:pt x="21954" y="121011"/>
                </a:lnTo>
                <a:lnTo>
                  <a:pt x="47453" y="80904"/>
                </a:lnTo>
                <a:lnTo>
                  <a:pt x="80904" y="47453"/>
                </a:lnTo>
                <a:lnTo>
                  <a:pt x="121011" y="21954"/>
                </a:lnTo>
                <a:lnTo>
                  <a:pt x="166476" y="5704"/>
                </a:lnTo>
                <a:lnTo>
                  <a:pt x="216004" y="0"/>
                </a:lnTo>
                <a:lnTo>
                  <a:pt x="1079996" y="0"/>
                </a:lnTo>
                <a:lnTo>
                  <a:pt x="1129523" y="5704"/>
                </a:lnTo>
                <a:lnTo>
                  <a:pt x="1174989" y="21954"/>
                </a:lnTo>
                <a:lnTo>
                  <a:pt x="1215095" y="47453"/>
                </a:lnTo>
                <a:lnTo>
                  <a:pt x="1248546" y="80904"/>
                </a:lnTo>
                <a:lnTo>
                  <a:pt x="1274045" y="121011"/>
                </a:lnTo>
                <a:lnTo>
                  <a:pt x="1290295" y="166476"/>
                </a:lnTo>
                <a:lnTo>
                  <a:pt x="1296000" y="216004"/>
                </a:lnTo>
                <a:lnTo>
                  <a:pt x="1296000" y="1467547"/>
                </a:lnTo>
                <a:lnTo>
                  <a:pt x="1290295" y="1517074"/>
                </a:lnTo>
                <a:lnTo>
                  <a:pt x="1274045" y="1562540"/>
                </a:lnTo>
                <a:lnTo>
                  <a:pt x="1248546" y="1602646"/>
                </a:lnTo>
                <a:lnTo>
                  <a:pt x="1215095" y="1636097"/>
                </a:lnTo>
                <a:lnTo>
                  <a:pt x="1174989" y="1661596"/>
                </a:lnTo>
                <a:lnTo>
                  <a:pt x="1129523" y="1677846"/>
                </a:lnTo>
                <a:lnTo>
                  <a:pt x="1079996" y="1683551"/>
                </a:lnTo>
                <a:lnTo>
                  <a:pt x="216004" y="1683551"/>
                </a:lnTo>
                <a:lnTo>
                  <a:pt x="166476" y="1677846"/>
                </a:lnTo>
                <a:lnTo>
                  <a:pt x="121011" y="1661596"/>
                </a:lnTo>
                <a:lnTo>
                  <a:pt x="80904" y="1636097"/>
                </a:lnTo>
                <a:lnTo>
                  <a:pt x="47453" y="1602646"/>
                </a:lnTo>
                <a:lnTo>
                  <a:pt x="21954" y="1562540"/>
                </a:lnTo>
                <a:lnTo>
                  <a:pt x="5704" y="1517074"/>
                </a:lnTo>
                <a:lnTo>
                  <a:pt x="0" y="1467547"/>
                </a:lnTo>
                <a:lnTo>
                  <a:pt x="0" y="216004"/>
                </a:lnTo>
                <a:close/>
              </a:path>
            </a:pathLst>
          </a:custGeom>
          <a:ln w="3175">
            <a:solidFill>
              <a:srgbClr val="207997"/>
            </a:solidFill>
          </a:ln>
        </p:spPr>
        <p:txBody>
          <a:bodyPr wrap="square" lIns="0" tIns="0" rIns="0" bIns="0" rtlCol="0"/>
          <a:lstStyle/>
          <a:p>
            <a:endParaRPr/>
          </a:p>
        </p:txBody>
      </p:sp>
      <p:sp>
        <p:nvSpPr>
          <p:cNvPr id="72" name="object 26">
            <a:extLst>
              <a:ext uri="{FF2B5EF4-FFF2-40B4-BE49-F238E27FC236}">
                <a16:creationId xmlns:a16="http://schemas.microsoft.com/office/drawing/2014/main" id="{6F63956C-85E0-FD9C-7B6E-F5BE73318BDA}"/>
              </a:ext>
            </a:extLst>
          </p:cNvPr>
          <p:cNvSpPr txBox="1"/>
          <p:nvPr/>
        </p:nvSpPr>
        <p:spPr>
          <a:xfrm>
            <a:off x="430302" y="4186437"/>
            <a:ext cx="1169010" cy="1187504"/>
          </a:xfrm>
          <a:prstGeom prst="rect">
            <a:avLst/>
          </a:prstGeom>
        </p:spPr>
        <p:txBody>
          <a:bodyPr vert="horz" wrap="square" lIns="0" tIns="58419" rIns="0" bIns="0" rtlCol="0">
            <a:spAutoFit/>
          </a:bodyPr>
          <a:lstStyle/>
          <a:p>
            <a:pPr marL="12700" marR="5080">
              <a:lnSpc>
                <a:spcPct val="100000"/>
              </a:lnSpc>
              <a:spcBef>
                <a:spcPts val="359"/>
              </a:spcBef>
            </a:pPr>
            <a:r>
              <a:rPr lang="en-GB" sz="1000" spc="-10" dirty="0">
                <a:latin typeface="Helvetica" pitchFamily="2" charset="0"/>
              </a:rPr>
              <a:t>General fintech and innovation-related topics. </a:t>
            </a:r>
          </a:p>
          <a:p>
            <a:pPr marL="12700" marR="5080">
              <a:lnSpc>
                <a:spcPct val="100000"/>
              </a:lnSpc>
              <a:spcBef>
                <a:spcPts val="359"/>
              </a:spcBef>
            </a:pPr>
            <a:r>
              <a:rPr lang="en-GB" sz="1000" b="1" spc="-10" dirty="0">
                <a:latin typeface="Helvetica" pitchFamily="2" charset="0"/>
              </a:rPr>
              <a:t>Goal : Large choice of subjects to gain a comprehensive view of fintech. </a:t>
            </a:r>
          </a:p>
        </p:txBody>
      </p:sp>
      <p:sp>
        <p:nvSpPr>
          <p:cNvPr id="73" name="object 28">
            <a:extLst>
              <a:ext uri="{FF2B5EF4-FFF2-40B4-BE49-F238E27FC236}">
                <a16:creationId xmlns:a16="http://schemas.microsoft.com/office/drawing/2014/main" id="{574CF452-48D3-AA3F-DFEA-618DF4D37DBB}"/>
              </a:ext>
            </a:extLst>
          </p:cNvPr>
          <p:cNvSpPr/>
          <p:nvPr/>
        </p:nvSpPr>
        <p:spPr>
          <a:xfrm>
            <a:off x="1965024" y="3894288"/>
            <a:ext cx="1296035" cy="1684020"/>
          </a:xfrm>
          <a:custGeom>
            <a:avLst/>
            <a:gdLst/>
            <a:ahLst/>
            <a:cxnLst/>
            <a:rect l="l" t="t" r="r" b="b"/>
            <a:pathLst>
              <a:path w="1296035" h="1684020">
                <a:moveTo>
                  <a:pt x="0" y="216004"/>
                </a:moveTo>
                <a:lnTo>
                  <a:pt x="5704" y="166476"/>
                </a:lnTo>
                <a:lnTo>
                  <a:pt x="21954" y="121011"/>
                </a:lnTo>
                <a:lnTo>
                  <a:pt x="47453" y="80904"/>
                </a:lnTo>
                <a:lnTo>
                  <a:pt x="80904" y="47453"/>
                </a:lnTo>
                <a:lnTo>
                  <a:pt x="121011" y="21954"/>
                </a:lnTo>
                <a:lnTo>
                  <a:pt x="166476" y="5704"/>
                </a:lnTo>
                <a:lnTo>
                  <a:pt x="216004" y="0"/>
                </a:lnTo>
                <a:lnTo>
                  <a:pt x="1079996" y="0"/>
                </a:lnTo>
                <a:lnTo>
                  <a:pt x="1129523" y="5704"/>
                </a:lnTo>
                <a:lnTo>
                  <a:pt x="1174989" y="21954"/>
                </a:lnTo>
                <a:lnTo>
                  <a:pt x="1215095" y="47453"/>
                </a:lnTo>
                <a:lnTo>
                  <a:pt x="1248546" y="80904"/>
                </a:lnTo>
                <a:lnTo>
                  <a:pt x="1274045" y="121011"/>
                </a:lnTo>
                <a:lnTo>
                  <a:pt x="1290295" y="166476"/>
                </a:lnTo>
                <a:lnTo>
                  <a:pt x="1296000" y="216004"/>
                </a:lnTo>
                <a:lnTo>
                  <a:pt x="1296000" y="1467547"/>
                </a:lnTo>
                <a:lnTo>
                  <a:pt x="1290295" y="1517074"/>
                </a:lnTo>
                <a:lnTo>
                  <a:pt x="1274045" y="1562540"/>
                </a:lnTo>
                <a:lnTo>
                  <a:pt x="1248546" y="1602646"/>
                </a:lnTo>
                <a:lnTo>
                  <a:pt x="1215095" y="1636097"/>
                </a:lnTo>
                <a:lnTo>
                  <a:pt x="1174989" y="1661596"/>
                </a:lnTo>
                <a:lnTo>
                  <a:pt x="1129523" y="1677846"/>
                </a:lnTo>
                <a:lnTo>
                  <a:pt x="1079996" y="1683551"/>
                </a:lnTo>
                <a:lnTo>
                  <a:pt x="216004" y="1683551"/>
                </a:lnTo>
                <a:lnTo>
                  <a:pt x="166476" y="1677846"/>
                </a:lnTo>
                <a:lnTo>
                  <a:pt x="121011" y="1661596"/>
                </a:lnTo>
                <a:lnTo>
                  <a:pt x="80904" y="1636097"/>
                </a:lnTo>
                <a:lnTo>
                  <a:pt x="47453" y="1602646"/>
                </a:lnTo>
                <a:lnTo>
                  <a:pt x="21954" y="1562540"/>
                </a:lnTo>
                <a:lnTo>
                  <a:pt x="5704" y="1517074"/>
                </a:lnTo>
                <a:lnTo>
                  <a:pt x="0" y="1467547"/>
                </a:lnTo>
                <a:lnTo>
                  <a:pt x="0" y="216004"/>
                </a:lnTo>
                <a:close/>
              </a:path>
            </a:pathLst>
          </a:custGeom>
          <a:ln w="3175">
            <a:solidFill>
              <a:srgbClr val="207997"/>
            </a:solidFill>
          </a:ln>
        </p:spPr>
        <p:txBody>
          <a:bodyPr wrap="square" lIns="0" tIns="0" rIns="0" bIns="0" rtlCol="0"/>
          <a:lstStyle/>
          <a:p>
            <a:endParaRPr/>
          </a:p>
        </p:txBody>
      </p:sp>
      <p:sp>
        <p:nvSpPr>
          <p:cNvPr id="74" name="object 29">
            <a:extLst>
              <a:ext uri="{FF2B5EF4-FFF2-40B4-BE49-F238E27FC236}">
                <a16:creationId xmlns:a16="http://schemas.microsoft.com/office/drawing/2014/main" id="{6A43EF12-5DC1-4BAB-D415-D27A3761E7F2}"/>
              </a:ext>
            </a:extLst>
          </p:cNvPr>
          <p:cNvSpPr txBox="1"/>
          <p:nvPr/>
        </p:nvSpPr>
        <p:spPr>
          <a:xfrm>
            <a:off x="2048845" y="3955102"/>
            <a:ext cx="1128395" cy="194284"/>
          </a:xfrm>
          <a:prstGeom prst="rect">
            <a:avLst/>
          </a:prstGeom>
        </p:spPr>
        <p:txBody>
          <a:bodyPr vert="horz" wrap="square" lIns="0" tIns="40005" rIns="0" bIns="0" rtlCol="0">
            <a:spAutoFit/>
          </a:bodyPr>
          <a:lstStyle/>
          <a:p>
            <a:pPr marL="375920">
              <a:lnSpc>
                <a:spcPct val="100000"/>
              </a:lnSpc>
              <a:spcBef>
                <a:spcPts val="315"/>
              </a:spcBef>
            </a:pPr>
            <a:r>
              <a:rPr sz="1000" b="1" spc="-5" dirty="0">
                <a:solidFill>
                  <a:srgbClr val="92D050"/>
                </a:solidFill>
                <a:latin typeface="Arial"/>
                <a:cs typeface="Arial"/>
              </a:rPr>
              <a:t>M&amp;A</a:t>
            </a:r>
            <a:endParaRPr sz="1000" dirty="0">
              <a:solidFill>
                <a:srgbClr val="92D050"/>
              </a:solidFill>
              <a:latin typeface="Arial"/>
              <a:cs typeface="Arial"/>
            </a:endParaRPr>
          </a:p>
        </p:txBody>
      </p:sp>
      <p:sp>
        <p:nvSpPr>
          <p:cNvPr id="75" name="object 31">
            <a:extLst>
              <a:ext uri="{FF2B5EF4-FFF2-40B4-BE49-F238E27FC236}">
                <a16:creationId xmlns:a16="http://schemas.microsoft.com/office/drawing/2014/main" id="{9B9782E5-3E33-DDE6-6BBB-6065FCA1B0A0}"/>
              </a:ext>
            </a:extLst>
          </p:cNvPr>
          <p:cNvSpPr/>
          <p:nvPr/>
        </p:nvSpPr>
        <p:spPr>
          <a:xfrm>
            <a:off x="3568545" y="3894288"/>
            <a:ext cx="1296035" cy="1684020"/>
          </a:xfrm>
          <a:custGeom>
            <a:avLst/>
            <a:gdLst/>
            <a:ahLst/>
            <a:cxnLst/>
            <a:rect l="l" t="t" r="r" b="b"/>
            <a:pathLst>
              <a:path w="1296035" h="1684020">
                <a:moveTo>
                  <a:pt x="0" y="216004"/>
                </a:moveTo>
                <a:lnTo>
                  <a:pt x="5704" y="166476"/>
                </a:lnTo>
                <a:lnTo>
                  <a:pt x="21954" y="121011"/>
                </a:lnTo>
                <a:lnTo>
                  <a:pt x="47453" y="80904"/>
                </a:lnTo>
                <a:lnTo>
                  <a:pt x="80904" y="47453"/>
                </a:lnTo>
                <a:lnTo>
                  <a:pt x="121011" y="21954"/>
                </a:lnTo>
                <a:lnTo>
                  <a:pt x="166476" y="5704"/>
                </a:lnTo>
                <a:lnTo>
                  <a:pt x="216004" y="0"/>
                </a:lnTo>
                <a:lnTo>
                  <a:pt x="1079996" y="0"/>
                </a:lnTo>
                <a:lnTo>
                  <a:pt x="1129523" y="5704"/>
                </a:lnTo>
                <a:lnTo>
                  <a:pt x="1174989" y="21954"/>
                </a:lnTo>
                <a:lnTo>
                  <a:pt x="1215095" y="47453"/>
                </a:lnTo>
                <a:lnTo>
                  <a:pt x="1248546" y="80904"/>
                </a:lnTo>
                <a:lnTo>
                  <a:pt x="1274045" y="121011"/>
                </a:lnTo>
                <a:lnTo>
                  <a:pt x="1290295" y="166476"/>
                </a:lnTo>
                <a:lnTo>
                  <a:pt x="1296000" y="216004"/>
                </a:lnTo>
                <a:lnTo>
                  <a:pt x="1296000" y="1467547"/>
                </a:lnTo>
                <a:lnTo>
                  <a:pt x="1290295" y="1517074"/>
                </a:lnTo>
                <a:lnTo>
                  <a:pt x="1274045" y="1562540"/>
                </a:lnTo>
                <a:lnTo>
                  <a:pt x="1248546" y="1602646"/>
                </a:lnTo>
                <a:lnTo>
                  <a:pt x="1215095" y="1636097"/>
                </a:lnTo>
                <a:lnTo>
                  <a:pt x="1174989" y="1661596"/>
                </a:lnTo>
                <a:lnTo>
                  <a:pt x="1129523" y="1677846"/>
                </a:lnTo>
                <a:lnTo>
                  <a:pt x="1079996" y="1683551"/>
                </a:lnTo>
                <a:lnTo>
                  <a:pt x="216004" y="1683551"/>
                </a:lnTo>
                <a:lnTo>
                  <a:pt x="166476" y="1677846"/>
                </a:lnTo>
                <a:lnTo>
                  <a:pt x="121011" y="1661596"/>
                </a:lnTo>
                <a:lnTo>
                  <a:pt x="80904" y="1636097"/>
                </a:lnTo>
                <a:lnTo>
                  <a:pt x="47453" y="1602646"/>
                </a:lnTo>
                <a:lnTo>
                  <a:pt x="21954" y="1562540"/>
                </a:lnTo>
                <a:lnTo>
                  <a:pt x="5704" y="1517074"/>
                </a:lnTo>
                <a:lnTo>
                  <a:pt x="0" y="1467547"/>
                </a:lnTo>
                <a:lnTo>
                  <a:pt x="0" y="216004"/>
                </a:lnTo>
                <a:close/>
              </a:path>
            </a:pathLst>
          </a:custGeom>
          <a:ln w="3175">
            <a:solidFill>
              <a:srgbClr val="207997"/>
            </a:solidFill>
          </a:ln>
        </p:spPr>
        <p:txBody>
          <a:bodyPr wrap="square" lIns="0" tIns="0" rIns="0" bIns="0" rtlCol="0"/>
          <a:lstStyle/>
          <a:p>
            <a:endParaRPr/>
          </a:p>
        </p:txBody>
      </p:sp>
      <p:sp>
        <p:nvSpPr>
          <p:cNvPr id="76" name="object 32">
            <a:extLst>
              <a:ext uri="{FF2B5EF4-FFF2-40B4-BE49-F238E27FC236}">
                <a16:creationId xmlns:a16="http://schemas.microsoft.com/office/drawing/2014/main" id="{DAE80BAC-E69E-7BEE-9663-ECD98A09FCA2}"/>
              </a:ext>
            </a:extLst>
          </p:cNvPr>
          <p:cNvSpPr txBox="1"/>
          <p:nvPr/>
        </p:nvSpPr>
        <p:spPr>
          <a:xfrm>
            <a:off x="3593752" y="4189001"/>
            <a:ext cx="1258606" cy="1168910"/>
          </a:xfrm>
          <a:prstGeom prst="rect">
            <a:avLst/>
          </a:prstGeom>
        </p:spPr>
        <p:txBody>
          <a:bodyPr vert="horz" wrap="square" lIns="0" tIns="40005" rIns="0" bIns="0" rtlCol="0">
            <a:spAutoFit/>
          </a:bodyPr>
          <a:lstStyle/>
          <a:p>
            <a:pPr marL="12700" marR="5080">
              <a:lnSpc>
                <a:spcPct val="100000"/>
              </a:lnSpc>
              <a:spcBef>
                <a:spcPts val="359"/>
              </a:spcBef>
            </a:pPr>
            <a:r>
              <a:rPr lang="en-GB" sz="1000" spc="-10" dirty="0">
                <a:latin typeface="Arial MT"/>
              </a:rPr>
              <a:t>FinTech news, create educational material, and then publish them on social medias.</a:t>
            </a:r>
          </a:p>
          <a:p>
            <a:pPr marL="12700" marR="5080">
              <a:lnSpc>
                <a:spcPct val="100000"/>
              </a:lnSpc>
              <a:spcBef>
                <a:spcPts val="359"/>
              </a:spcBef>
            </a:pPr>
            <a:r>
              <a:rPr lang="en-GB" sz="1000" b="1" spc="-10" dirty="0">
                <a:latin typeface="Arial MT"/>
              </a:rPr>
              <a:t>Goal : To know the latest news and developments</a:t>
            </a:r>
            <a:endParaRPr lang="it-IT" sz="1000" b="1" spc="-10" dirty="0">
              <a:latin typeface="Arial MT"/>
            </a:endParaRPr>
          </a:p>
        </p:txBody>
      </p:sp>
      <p:grpSp>
        <p:nvGrpSpPr>
          <p:cNvPr id="77" name="object 34">
            <a:extLst>
              <a:ext uri="{FF2B5EF4-FFF2-40B4-BE49-F238E27FC236}">
                <a16:creationId xmlns:a16="http://schemas.microsoft.com/office/drawing/2014/main" id="{45460658-76AD-4DC2-BFF5-48EA0720AE3B}"/>
              </a:ext>
            </a:extLst>
          </p:cNvPr>
          <p:cNvGrpSpPr/>
          <p:nvPr/>
        </p:nvGrpSpPr>
        <p:grpSpPr>
          <a:xfrm>
            <a:off x="355106" y="3574591"/>
            <a:ext cx="6114421" cy="240665"/>
            <a:chOff x="355107" y="3574591"/>
            <a:chExt cx="4136390" cy="240665"/>
          </a:xfrm>
        </p:grpSpPr>
        <p:sp>
          <p:nvSpPr>
            <p:cNvPr id="78" name="object 35">
              <a:extLst>
                <a:ext uri="{FF2B5EF4-FFF2-40B4-BE49-F238E27FC236}">
                  <a16:creationId xmlns:a16="http://schemas.microsoft.com/office/drawing/2014/main" id="{730B0EC7-A116-B5C0-D124-B27D6639B0F3}"/>
                </a:ext>
              </a:extLst>
            </p:cNvPr>
            <p:cNvSpPr/>
            <p:nvPr/>
          </p:nvSpPr>
          <p:spPr>
            <a:xfrm>
              <a:off x="356694" y="3576179"/>
              <a:ext cx="4133215" cy="237490"/>
            </a:xfrm>
            <a:custGeom>
              <a:avLst/>
              <a:gdLst/>
              <a:ahLst/>
              <a:cxnLst/>
              <a:rect l="l" t="t" r="r" b="b"/>
              <a:pathLst>
                <a:path w="4133215" h="237489">
                  <a:moveTo>
                    <a:pt x="4093185" y="0"/>
                  </a:moveTo>
                  <a:lnTo>
                    <a:pt x="39523" y="0"/>
                  </a:lnTo>
                  <a:lnTo>
                    <a:pt x="24139" y="3105"/>
                  </a:lnTo>
                  <a:lnTo>
                    <a:pt x="11576" y="11576"/>
                  </a:lnTo>
                  <a:lnTo>
                    <a:pt x="3105" y="24139"/>
                  </a:lnTo>
                  <a:lnTo>
                    <a:pt x="0" y="39523"/>
                  </a:lnTo>
                  <a:lnTo>
                    <a:pt x="0" y="197614"/>
                  </a:lnTo>
                  <a:lnTo>
                    <a:pt x="3105" y="212999"/>
                  </a:lnTo>
                  <a:lnTo>
                    <a:pt x="11576" y="225562"/>
                  </a:lnTo>
                  <a:lnTo>
                    <a:pt x="24139" y="234033"/>
                  </a:lnTo>
                  <a:lnTo>
                    <a:pt x="39523" y="237139"/>
                  </a:lnTo>
                  <a:lnTo>
                    <a:pt x="4093185" y="237139"/>
                  </a:lnTo>
                  <a:lnTo>
                    <a:pt x="4108569" y="234033"/>
                  </a:lnTo>
                  <a:lnTo>
                    <a:pt x="4121132" y="225562"/>
                  </a:lnTo>
                  <a:lnTo>
                    <a:pt x="4129603" y="212999"/>
                  </a:lnTo>
                  <a:lnTo>
                    <a:pt x="4132709" y="197614"/>
                  </a:lnTo>
                  <a:lnTo>
                    <a:pt x="4132709" y="39523"/>
                  </a:lnTo>
                  <a:lnTo>
                    <a:pt x="4129603" y="24139"/>
                  </a:lnTo>
                  <a:lnTo>
                    <a:pt x="4121132" y="11576"/>
                  </a:lnTo>
                  <a:lnTo>
                    <a:pt x="4108569" y="3105"/>
                  </a:lnTo>
                  <a:lnTo>
                    <a:pt x="4093185" y="0"/>
                  </a:lnTo>
                  <a:close/>
                </a:path>
              </a:pathLst>
            </a:custGeom>
            <a:solidFill>
              <a:srgbClr val="207997"/>
            </a:solidFill>
          </p:spPr>
          <p:txBody>
            <a:bodyPr wrap="square" lIns="0" tIns="0" rIns="0" bIns="0" rtlCol="0"/>
            <a:lstStyle/>
            <a:p>
              <a:endParaRPr/>
            </a:p>
          </p:txBody>
        </p:sp>
        <p:sp>
          <p:nvSpPr>
            <p:cNvPr id="79" name="object 36">
              <a:extLst>
                <a:ext uri="{FF2B5EF4-FFF2-40B4-BE49-F238E27FC236}">
                  <a16:creationId xmlns:a16="http://schemas.microsoft.com/office/drawing/2014/main" id="{8E08C675-EB64-3597-89FE-3E24E1C9B606}"/>
                </a:ext>
              </a:extLst>
            </p:cNvPr>
            <p:cNvSpPr/>
            <p:nvPr/>
          </p:nvSpPr>
          <p:spPr>
            <a:xfrm>
              <a:off x="356694" y="3576179"/>
              <a:ext cx="4133215" cy="237490"/>
            </a:xfrm>
            <a:custGeom>
              <a:avLst/>
              <a:gdLst/>
              <a:ahLst/>
              <a:cxnLst/>
              <a:rect l="l" t="t" r="r" b="b"/>
              <a:pathLst>
                <a:path w="4133215" h="237489">
                  <a:moveTo>
                    <a:pt x="0" y="39523"/>
                  </a:moveTo>
                  <a:lnTo>
                    <a:pt x="3105" y="24139"/>
                  </a:lnTo>
                  <a:lnTo>
                    <a:pt x="11576" y="11576"/>
                  </a:lnTo>
                  <a:lnTo>
                    <a:pt x="24139" y="3105"/>
                  </a:lnTo>
                  <a:lnTo>
                    <a:pt x="39523" y="0"/>
                  </a:lnTo>
                  <a:lnTo>
                    <a:pt x="4093185" y="0"/>
                  </a:lnTo>
                  <a:lnTo>
                    <a:pt x="4108569" y="3105"/>
                  </a:lnTo>
                  <a:lnTo>
                    <a:pt x="4121132" y="11576"/>
                  </a:lnTo>
                  <a:lnTo>
                    <a:pt x="4129603" y="24139"/>
                  </a:lnTo>
                  <a:lnTo>
                    <a:pt x="4132709" y="39523"/>
                  </a:lnTo>
                  <a:lnTo>
                    <a:pt x="4132709" y="197615"/>
                  </a:lnTo>
                  <a:lnTo>
                    <a:pt x="4129603" y="212999"/>
                  </a:lnTo>
                  <a:lnTo>
                    <a:pt x="4121132" y="225562"/>
                  </a:lnTo>
                  <a:lnTo>
                    <a:pt x="4108569" y="234033"/>
                  </a:lnTo>
                  <a:lnTo>
                    <a:pt x="4093185" y="237139"/>
                  </a:lnTo>
                  <a:lnTo>
                    <a:pt x="39523" y="237139"/>
                  </a:lnTo>
                  <a:lnTo>
                    <a:pt x="24139" y="234033"/>
                  </a:lnTo>
                  <a:lnTo>
                    <a:pt x="11576" y="225562"/>
                  </a:lnTo>
                  <a:lnTo>
                    <a:pt x="3105" y="212999"/>
                  </a:lnTo>
                  <a:lnTo>
                    <a:pt x="0" y="197615"/>
                  </a:lnTo>
                  <a:lnTo>
                    <a:pt x="0" y="39523"/>
                  </a:lnTo>
                  <a:close/>
                </a:path>
              </a:pathLst>
            </a:custGeom>
            <a:ln w="3175">
              <a:solidFill>
                <a:srgbClr val="BCBCBC"/>
              </a:solidFill>
            </a:ln>
          </p:spPr>
          <p:txBody>
            <a:bodyPr wrap="square" lIns="0" tIns="0" rIns="0" bIns="0" rtlCol="0"/>
            <a:lstStyle/>
            <a:p>
              <a:endParaRPr/>
            </a:p>
          </p:txBody>
        </p:sp>
      </p:grpSp>
      <p:sp>
        <p:nvSpPr>
          <p:cNvPr id="80" name="object 37">
            <a:extLst>
              <a:ext uri="{FF2B5EF4-FFF2-40B4-BE49-F238E27FC236}">
                <a16:creationId xmlns:a16="http://schemas.microsoft.com/office/drawing/2014/main" id="{D6652AA2-C5EB-CEA0-C8CC-5978486B0F7D}"/>
              </a:ext>
            </a:extLst>
          </p:cNvPr>
          <p:cNvSpPr txBox="1"/>
          <p:nvPr/>
        </p:nvSpPr>
        <p:spPr>
          <a:xfrm>
            <a:off x="3275400" y="3605707"/>
            <a:ext cx="398145" cy="177800"/>
          </a:xfrm>
          <a:prstGeom prst="rect">
            <a:avLst/>
          </a:prstGeom>
        </p:spPr>
        <p:txBody>
          <a:bodyPr vert="horz" wrap="square" lIns="0" tIns="12700" rIns="0" bIns="0" rtlCol="0">
            <a:spAutoFit/>
          </a:bodyPr>
          <a:lstStyle/>
          <a:p>
            <a:pPr marL="12700">
              <a:lnSpc>
                <a:spcPct val="100000"/>
              </a:lnSpc>
              <a:spcBef>
                <a:spcPts val="100"/>
              </a:spcBef>
            </a:pPr>
            <a:r>
              <a:rPr sz="1000" b="1" dirty="0">
                <a:solidFill>
                  <a:srgbClr val="FFFFFF"/>
                </a:solidFill>
                <a:latin typeface="Arial"/>
                <a:cs typeface="Arial"/>
              </a:rPr>
              <a:t>D</a:t>
            </a:r>
            <a:r>
              <a:rPr sz="1000" b="1" spc="-10" dirty="0">
                <a:solidFill>
                  <a:srgbClr val="FFFFFF"/>
                </a:solidFill>
                <a:latin typeface="Arial"/>
                <a:cs typeface="Arial"/>
              </a:rPr>
              <a:t>esk</a:t>
            </a:r>
            <a:r>
              <a:rPr sz="1000" b="1" dirty="0">
                <a:solidFill>
                  <a:srgbClr val="FFFFFF"/>
                </a:solidFill>
                <a:latin typeface="Arial"/>
                <a:cs typeface="Arial"/>
              </a:rPr>
              <a:t>s</a:t>
            </a:r>
            <a:endParaRPr sz="1000" dirty="0">
              <a:latin typeface="Arial"/>
              <a:cs typeface="Arial"/>
            </a:endParaRPr>
          </a:p>
        </p:txBody>
      </p:sp>
      <p:grpSp>
        <p:nvGrpSpPr>
          <p:cNvPr id="81" name="object 38">
            <a:extLst>
              <a:ext uri="{FF2B5EF4-FFF2-40B4-BE49-F238E27FC236}">
                <a16:creationId xmlns:a16="http://schemas.microsoft.com/office/drawing/2014/main" id="{1030C94A-F4AA-7D1E-3190-299BF3AC5CA4}"/>
              </a:ext>
            </a:extLst>
          </p:cNvPr>
          <p:cNvGrpSpPr/>
          <p:nvPr/>
        </p:nvGrpSpPr>
        <p:grpSpPr>
          <a:xfrm>
            <a:off x="6788491" y="3574592"/>
            <a:ext cx="1999635" cy="240029"/>
            <a:chOff x="4653007" y="3574592"/>
            <a:chExt cx="4135120" cy="240029"/>
          </a:xfrm>
        </p:grpSpPr>
        <p:sp>
          <p:nvSpPr>
            <p:cNvPr id="82" name="object 39">
              <a:extLst>
                <a:ext uri="{FF2B5EF4-FFF2-40B4-BE49-F238E27FC236}">
                  <a16:creationId xmlns:a16="http://schemas.microsoft.com/office/drawing/2014/main" id="{0003D2AE-065A-C536-6DFC-2A1DA790B8E4}"/>
                </a:ext>
              </a:extLst>
            </p:cNvPr>
            <p:cNvSpPr/>
            <p:nvPr/>
          </p:nvSpPr>
          <p:spPr>
            <a:xfrm>
              <a:off x="4654594" y="3576180"/>
              <a:ext cx="4131945" cy="236854"/>
            </a:xfrm>
            <a:custGeom>
              <a:avLst/>
              <a:gdLst/>
              <a:ahLst/>
              <a:cxnLst/>
              <a:rect l="l" t="t" r="r" b="b"/>
              <a:pathLst>
                <a:path w="4131945" h="236854">
                  <a:moveTo>
                    <a:pt x="4092261" y="0"/>
                  </a:moveTo>
                  <a:lnTo>
                    <a:pt x="39465" y="0"/>
                  </a:lnTo>
                  <a:lnTo>
                    <a:pt x="24103" y="3101"/>
                  </a:lnTo>
                  <a:lnTo>
                    <a:pt x="11559" y="11558"/>
                  </a:lnTo>
                  <a:lnTo>
                    <a:pt x="3101" y="24102"/>
                  </a:lnTo>
                  <a:lnTo>
                    <a:pt x="0" y="39463"/>
                  </a:lnTo>
                  <a:lnTo>
                    <a:pt x="0" y="197328"/>
                  </a:lnTo>
                  <a:lnTo>
                    <a:pt x="3101" y="212690"/>
                  </a:lnTo>
                  <a:lnTo>
                    <a:pt x="11559" y="225234"/>
                  </a:lnTo>
                  <a:lnTo>
                    <a:pt x="24103" y="233692"/>
                  </a:lnTo>
                  <a:lnTo>
                    <a:pt x="39465" y="236794"/>
                  </a:lnTo>
                  <a:lnTo>
                    <a:pt x="4092261" y="236794"/>
                  </a:lnTo>
                  <a:lnTo>
                    <a:pt x="4107622" y="233692"/>
                  </a:lnTo>
                  <a:lnTo>
                    <a:pt x="4120166" y="225234"/>
                  </a:lnTo>
                  <a:lnTo>
                    <a:pt x="4128623" y="212690"/>
                  </a:lnTo>
                  <a:lnTo>
                    <a:pt x="4131725" y="197328"/>
                  </a:lnTo>
                  <a:lnTo>
                    <a:pt x="4131725" y="39463"/>
                  </a:lnTo>
                  <a:lnTo>
                    <a:pt x="4128623" y="24102"/>
                  </a:lnTo>
                  <a:lnTo>
                    <a:pt x="4120166" y="11558"/>
                  </a:lnTo>
                  <a:lnTo>
                    <a:pt x="4107622" y="3101"/>
                  </a:lnTo>
                  <a:lnTo>
                    <a:pt x="4092261" y="0"/>
                  </a:lnTo>
                  <a:close/>
                </a:path>
              </a:pathLst>
            </a:custGeom>
            <a:solidFill>
              <a:srgbClr val="207997"/>
            </a:solidFill>
          </p:spPr>
          <p:txBody>
            <a:bodyPr wrap="square" lIns="0" tIns="0" rIns="0" bIns="0" rtlCol="0"/>
            <a:lstStyle/>
            <a:p>
              <a:endParaRPr/>
            </a:p>
          </p:txBody>
        </p:sp>
        <p:sp>
          <p:nvSpPr>
            <p:cNvPr id="83" name="object 40">
              <a:extLst>
                <a:ext uri="{FF2B5EF4-FFF2-40B4-BE49-F238E27FC236}">
                  <a16:creationId xmlns:a16="http://schemas.microsoft.com/office/drawing/2014/main" id="{1BBAE9A2-E0F1-3FDB-C3E5-42BCD0AF3D88}"/>
                </a:ext>
              </a:extLst>
            </p:cNvPr>
            <p:cNvSpPr/>
            <p:nvPr/>
          </p:nvSpPr>
          <p:spPr>
            <a:xfrm>
              <a:off x="4654594" y="3576180"/>
              <a:ext cx="4131945" cy="236854"/>
            </a:xfrm>
            <a:custGeom>
              <a:avLst/>
              <a:gdLst/>
              <a:ahLst/>
              <a:cxnLst/>
              <a:rect l="l" t="t" r="r" b="b"/>
              <a:pathLst>
                <a:path w="4131945" h="236854">
                  <a:moveTo>
                    <a:pt x="0" y="39464"/>
                  </a:moveTo>
                  <a:lnTo>
                    <a:pt x="3101" y="24103"/>
                  </a:lnTo>
                  <a:lnTo>
                    <a:pt x="11558" y="11559"/>
                  </a:lnTo>
                  <a:lnTo>
                    <a:pt x="24103" y="3101"/>
                  </a:lnTo>
                  <a:lnTo>
                    <a:pt x="39464" y="0"/>
                  </a:lnTo>
                  <a:lnTo>
                    <a:pt x="4092260" y="0"/>
                  </a:lnTo>
                  <a:lnTo>
                    <a:pt x="4107621" y="3101"/>
                  </a:lnTo>
                  <a:lnTo>
                    <a:pt x="4120166" y="11559"/>
                  </a:lnTo>
                  <a:lnTo>
                    <a:pt x="4128623" y="24103"/>
                  </a:lnTo>
                  <a:lnTo>
                    <a:pt x="4131725" y="39464"/>
                  </a:lnTo>
                  <a:lnTo>
                    <a:pt x="4131725" y="197329"/>
                  </a:lnTo>
                  <a:lnTo>
                    <a:pt x="4128623" y="212690"/>
                  </a:lnTo>
                  <a:lnTo>
                    <a:pt x="4120166" y="225235"/>
                  </a:lnTo>
                  <a:lnTo>
                    <a:pt x="4107621" y="233692"/>
                  </a:lnTo>
                  <a:lnTo>
                    <a:pt x="4092260" y="236794"/>
                  </a:lnTo>
                  <a:lnTo>
                    <a:pt x="39464" y="236794"/>
                  </a:lnTo>
                  <a:lnTo>
                    <a:pt x="24103" y="233692"/>
                  </a:lnTo>
                  <a:lnTo>
                    <a:pt x="11558" y="225235"/>
                  </a:lnTo>
                  <a:lnTo>
                    <a:pt x="3101" y="212690"/>
                  </a:lnTo>
                  <a:lnTo>
                    <a:pt x="0" y="197329"/>
                  </a:lnTo>
                  <a:lnTo>
                    <a:pt x="0" y="39464"/>
                  </a:lnTo>
                  <a:close/>
                </a:path>
              </a:pathLst>
            </a:custGeom>
            <a:ln w="3175">
              <a:solidFill>
                <a:srgbClr val="BCBCBC"/>
              </a:solidFill>
            </a:ln>
          </p:spPr>
          <p:txBody>
            <a:bodyPr wrap="square" lIns="0" tIns="0" rIns="0" bIns="0" rtlCol="0"/>
            <a:lstStyle/>
            <a:p>
              <a:endParaRPr/>
            </a:p>
          </p:txBody>
        </p:sp>
      </p:grpSp>
      <p:sp>
        <p:nvSpPr>
          <p:cNvPr id="84" name="object 41">
            <a:extLst>
              <a:ext uri="{FF2B5EF4-FFF2-40B4-BE49-F238E27FC236}">
                <a16:creationId xmlns:a16="http://schemas.microsoft.com/office/drawing/2014/main" id="{4CE6F198-2724-135D-9820-FDE3E4C7BDB0}"/>
              </a:ext>
            </a:extLst>
          </p:cNvPr>
          <p:cNvSpPr txBox="1"/>
          <p:nvPr/>
        </p:nvSpPr>
        <p:spPr>
          <a:xfrm>
            <a:off x="7500653" y="3610046"/>
            <a:ext cx="575310" cy="177800"/>
          </a:xfrm>
          <a:prstGeom prst="rect">
            <a:avLst/>
          </a:prstGeom>
        </p:spPr>
        <p:txBody>
          <a:bodyPr vert="horz" wrap="square" lIns="0" tIns="12700" rIns="0" bIns="0" rtlCol="0">
            <a:spAutoFit/>
          </a:bodyPr>
          <a:lstStyle/>
          <a:p>
            <a:pPr marL="12700">
              <a:lnSpc>
                <a:spcPct val="100000"/>
              </a:lnSpc>
              <a:spcBef>
                <a:spcPts val="100"/>
              </a:spcBef>
            </a:pPr>
            <a:r>
              <a:rPr sz="1000" b="1">
                <a:solidFill>
                  <a:srgbClr val="FFFFFF"/>
                </a:solidFill>
                <a:latin typeface="Arial"/>
                <a:cs typeface="Arial"/>
              </a:rPr>
              <a:t>Nu</a:t>
            </a:r>
            <a:r>
              <a:rPr sz="1000" b="1" spc="-5">
                <a:solidFill>
                  <a:srgbClr val="FFFFFF"/>
                </a:solidFill>
                <a:latin typeface="Arial"/>
                <a:cs typeface="Arial"/>
              </a:rPr>
              <a:t>m</a:t>
            </a:r>
            <a:r>
              <a:rPr sz="1000" b="1">
                <a:solidFill>
                  <a:srgbClr val="FFFFFF"/>
                </a:solidFill>
                <a:latin typeface="Arial"/>
                <a:cs typeface="Arial"/>
              </a:rPr>
              <a:t>b</a:t>
            </a:r>
            <a:r>
              <a:rPr sz="1000" b="1" spc="-10">
                <a:solidFill>
                  <a:srgbClr val="FFFFFF"/>
                </a:solidFill>
                <a:latin typeface="Arial"/>
                <a:cs typeface="Arial"/>
              </a:rPr>
              <a:t>e</a:t>
            </a:r>
            <a:r>
              <a:rPr sz="1000" b="1" spc="-5">
                <a:solidFill>
                  <a:srgbClr val="FFFFFF"/>
                </a:solidFill>
                <a:latin typeface="Arial"/>
                <a:cs typeface="Arial"/>
              </a:rPr>
              <a:t>r</a:t>
            </a:r>
            <a:r>
              <a:rPr sz="1000" b="1">
                <a:solidFill>
                  <a:srgbClr val="FFFFFF"/>
                </a:solidFill>
                <a:latin typeface="Arial"/>
                <a:cs typeface="Arial"/>
              </a:rPr>
              <a:t>s</a:t>
            </a:r>
            <a:endParaRPr sz="1000">
              <a:latin typeface="Arial"/>
              <a:cs typeface="Arial"/>
            </a:endParaRPr>
          </a:p>
        </p:txBody>
      </p:sp>
      <p:sp>
        <p:nvSpPr>
          <p:cNvPr id="85" name="object 42">
            <a:extLst>
              <a:ext uri="{FF2B5EF4-FFF2-40B4-BE49-F238E27FC236}">
                <a16:creationId xmlns:a16="http://schemas.microsoft.com/office/drawing/2014/main" id="{E73C5543-74A5-09D6-2138-5E25C205DD3F}"/>
              </a:ext>
            </a:extLst>
          </p:cNvPr>
          <p:cNvSpPr/>
          <p:nvPr/>
        </p:nvSpPr>
        <p:spPr>
          <a:xfrm>
            <a:off x="3328423" y="3860152"/>
            <a:ext cx="292100" cy="100330"/>
          </a:xfrm>
          <a:custGeom>
            <a:avLst/>
            <a:gdLst/>
            <a:ahLst/>
            <a:cxnLst/>
            <a:rect l="l" t="t" r="r" b="b"/>
            <a:pathLst>
              <a:path w="292100" h="100329">
                <a:moveTo>
                  <a:pt x="291782" y="0"/>
                </a:moveTo>
                <a:lnTo>
                  <a:pt x="0" y="0"/>
                </a:lnTo>
                <a:lnTo>
                  <a:pt x="0" y="100111"/>
                </a:lnTo>
                <a:lnTo>
                  <a:pt x="291782" y="100111"/>
                </a:lnTo>
                <a:lnTo>
                  <a:pt x="291782" y="0"/>
                </a:lnTo>
                <a:close/>
              </a:path>
            </a:pathLst>
          </a:custGeom>
          <a:solidFill>
            <a:srgbClr val="FFFFFF"/>
          </a:solidFill>
        </p:spPr>
        <p:txBody>
          <a:bodyPr wrap="square" lIns="0" tIns="0" rIns="0" bIns="0" rtlCol="0"/>
          <a:lstStyle/>
          <a:p>
            <a:endParaRPr/>
          </a:p>
        </p:txBody>
      </p:sp>
      <p:pic>
        <p:nvPicPr>
          <p:cNvPr id="86" name="object 8">
            <a:extLst>
              <a:ext uri="{FF2B5EF4-FFF2-40B4-BE49-F238E27FC236}">
                <a16:creationId xmlns:a16="http://schemas.microsoft.com/office/drawing/2014/main" id="{CDFDE463-1DCC-DF13-43BE-FA27D5307B92}"/>
              </a:ext>
            </a:extLst>
          </p:cNvPr>
          <p:cNvPicPr/>
          <p:nvPr/>
        </p:nvPicPr>
        <p:blipFill>
          <a:blip r:embed="rId5" cstate="email">
            <a:extLst>
              <a:ext uri="{28A0092B-C50C-407E-A947-70E740481C1C}">
                <a14:useLocalDpi xmlns:a14="http://schemas.microsoft.com/office/drawing/2010/main"/>
              </a:ext>
            </a:extLst>
          </a:blip>
          <a:stretch>
            <a:fillRect/>
          </a:stretch>
        </p:blipFill>
        <p:spPr>
          <a:xfrm>
            <a:off x="6924653" y="4044008"/>
            <a:ext cx="332232" cy="327600"/>
          </a:xfrm>
          <a:prstGeom prst="rect">
            <a:avLst/>
          </a:prstGeom>
        </p:spPr>
      </p:pic>
      <p:sp>
        <p:nvSpPr>
          <p:cNvPr id="87" name="object 31">
            <a:extLst>
              <a:ext uri="{FF2B5EF4-FFF2-40B4-BE49-F238E27FC236}">
                <a16:creationId xmlns:a16="http://schemas.microsoft.com/office/drawing/2014/main" id="{AA08DFFA-EF31-DE61-8A64-5C7B4A05A9A3}"/>
              </a:ext>
            </a:extLst>
          </p:cNvPr>
          <p:cNvSpPr/>
          <p:nvPr/>
        </p:nvSpPr>
        <p:spPr>
          <a:xfrm>
            <a:off x="5172065" y="3938179"/>
            <a:ext cx="1296035" cy="1684020"/>
          </a:xfrm>
          <a:custGeom>
            <a:avLst/>
            <a:gdLst/>
            <a:ahLst/>
            <a:cxnLst/>
            <a:rect l="l" t="t" r="r" b="b"/>
            <a:pathLst>
              <a:path w="1296035" h="1684020">
                <a:moveTo>
                  <a:pt x="0" y="216004"/>
                </a:moveTo>
                <a:lnTo>
                  <a:pt x="5704" y="166476"/>
                </a:lnTo>
                <a:lnTo>
                  <a:pt x="21954" y="121011"/>
                </a:lnTo>
                <a:lnTo>
                  <a:pt x="47453" y="80904"/>
                </a:lnTo>
                <a:lnTo>
                  <a:pt x="80904" y="47453"/>
                </a:lnTo>
                <a:lnTo>
                  <a:pt x="121011" y="21954"/>
                </a:lnTo>
                <a:lnTo>
                  <a:pt x="166476" y="5704"/>
                </a:lnTo>
                <a:lnTo>
                  <a:pt x="216004" y="0"/>
                </a:lnTo>
                <a:lnTo>
                  <a:pt x="1079996" y="0"/>
                </a:lnTo>
                <a:lnTo>
                  <a:pt x="1129523" y="5704"/>
                </a:lnTo>
                <a:lnTo>
                  <a:pt x="1174989" y="21954"/>
                </a:lnTo>
                <a:lnTo>
                  <a:pt x="1215095" y="47453"/>
                </a:lnTo>
                <a:lnTo>
                  <a:pt x="1248546" y="80904"/>
                </a:lnTo>
                <a:lnTo>
                  <a:pt x="1274045" y="121011"/>
                </a:lnTo>
                <a:lnTo>
                  <a:pt x="1290295" y="166476"/>
                </a:lnTo>
                <a:lnTo>
                  <a:pt x="1296000" y="216004"/>
                </a:lnTo>
                <a:lnTo>
                  <a:pt x="1296000" y="1467547"/>
                </a:lnTo>
                <a:lnTo>
                  <a:pt x="1290295" y="1517074"/>
                </a:lnTo>
                <a:lnTo>
                  <a:pt x="1274045" y="1562540"/>
                </a:lnTo>
                <a:lnTo>
                  <a:pt x="1248546" y="1602646"/>
                </a:lnTo>
                <a:lnTo>
                  <a:pt x="1215095" y="1636097"/>
                </a:lnTo>
                <a:lnTo>
                  <a:pt x="1174989" y="1661596"/>
                </a:lnTo>
                <a:lnTo>
                  <a:pt x="1129523" y="1677846"/>
                </a:lnTo>
                <a:lnTo>
                  <a:pt x="1079996" y="1683551"/>
                </a:lnTo>
                <a:lnTo>
                  <a:pt x="216004" y="1683551"/>
                </a:lnTo>
                <a:lnTo>
                  <a:pt x="166476" y="1677846"/>
                </a:lnTo>
                <a:lnTo>
                  <a:pt x="121011" y="1661596"/>
                </a:lnTo>
                <a:lnTo>
                  <a:pt x="80904" y="1636097"/>
                </a:lnTo>
                <a:lnTo>
                  <a:pt x="47453" y="1602646"/>
                </a:lnTo>
                <a:lnTo>
                  <a:pt x="21954" y="1562540"/>
                </a:lnTo>
                <a:lnTo>
                  <a:pt x="5704" y="1517074"/>
                </a:lnTo>
                <a:lnTo>
                  <a:pt x="0" y="1467547"/>
                </a:lnTo>
                <a:lnTo>
                  <a:pt x="0" y="216004"/>
                </a:lnTo>
                <a:close/>
              </a:path>
            </a:pathLst>
          </a:custGeom>
          <a:ln w="3175">
            <a:solidFill>
              <a:srgbClr val="207997"/>
            </a:solidFill>
          </a:ln>
        </p:spPr>
        <p:txBody>
          <a:bodyPr wrap="square" lIns="0" tIns="0" rIns="0" bIns="0" rtlCol="0"/>
          <a:lstStyle/>
          <a:p>
            <a:endParaRPr/>
          </a:p>
        </p:txBody>
      </p:sp>
      <p:sp>
        <p:nvSpPr>
          <p:cNvPr id="88" name="object 32">
            <a:extLst>
              <a:ext uri="{FF2B5EF4-FFF2-40B4-BE49-F238E27FC236}">
                <a16:creationId xmlns:a16="http://schemas.microsoft.com/office/drawing/2014/main" id="{2459F63D-20D4-DD24-2059-EBAF7C647C8A}"/>
              </a:ext>
            </a:extLst>
          </p:cNvPr>
          <p:cNvSpPr txBox="1"/>
          <p:nvPr/>
        </p:nvSpPr>
        <p:spPr>
          <a:xfrm>
            <a:off x="5208713" y="4151277"/>
            <a:ext cx="1241791" cy="1297150"/>
          </a:xfrm>
          <a:prstGeom prst="rect">
            <a:avLst/>
          </a:prstGeom>
        </p:spPr>
        <p:txBody>
          <a:bodyPr vert="horz" wrap="square" lIns="0" tIns="40005" rIns="0" bIns="0" rtlCol="0">
            <a:spAutoFit/>
          </a:bodyPr>
          <a:lstStyle/>
          <a:p>
            <a:pPr marL="12700" marR="5080">
              <a:lnSpc>
                <a:spcPct val="100000"/>
              </a:lnSpc>
              <a:spcBef>
                <a:spcPts val="215"/>
              </a:spcBef>
            </a:pPr>
            <a:r>
              <a:rPr lang="en-GB" sz="1000" spc="-10" dirty="0">
                <a:latin typeface="Helvetica" pitchFamily="2" charset="0"/>
              </a:rPr>
              <a:t>Through research, statistical analysis and visualization, the team will uncover trends and insights. </a:t>
            </a:r>
          </a:p>
          <a:p>
            <a:pPr marL="12700" marR="5080">
              <a:lnSpc>
                <a:spcPct val="100000"/>
              </a:lnSpc>
              <a:spcBef>
                <a:spcPts val="215"/>
              </a:spcBef>
            </a:pPr>
            <a:r>
              <a:rPr lang="en-GB" sz="1000" b="1" spc="-10" dirty="0">
                <a:latin typeface="Helvetica" pitchFamily="2" charset="0"/>
              </a:rPr>
              <a:t>Goal : To apply your analytics knowledge into practice. </a:t>
            </a:r>
            <a:endParaRPr sz="1000" b="1" spc="-10" dirty="0">
              <a:latin typeface="Helvetica" pitchFamily="2" charset="0"/>
            </a:endParaRPr>
          </a:p>
        </p:txBody>
      </p:sp>
      <p:sp>
        <p:nvSpPr>
          <p:cNvPr id="3" name="TextBox 2">
            <a:extLst>
              <a:ext uri="{FF2B5EF4-FFF2-40B4-BE49-F238E27FC236}">
                <a16:creationId xmlns:a16="http://schemas.microsoft.com/office/drawing/2014/main" id="{D02B7F32-C097-DAC7-50E7-0034B0D458FD}"/>
              </a:ext>
            </a:extLst>
          </p:cNvPr>
          <p:cNvSpPr txBox="1"/>
          <p:nvPr/>
        </p:nvSpPr>
        <p:spPr>
          <a:xfrm>
            <a:off x="1965024" y="4170859"/>
            <a:ext cx="1237809" cy="1169551"/>
          </a:xfrm>
          <a:prstGeom prst="rect">
            <a:avLst/>
          </a:prstGeom>
          <a:noFill/>
        </p:spPr>
        <p:txBody>
          <a:bodyPr wrap="square" rtlCol="0">
            <a:spAutoFit/>
          </a:bodyPr>
          <a:lstStyle/>
          <a:p>
            <a:r>
              <a:rPr lang="en-GB" sz="1000" spc="-10" dirty="0">
                <a:latin typeface="Helvetica" pitchFamily="2" charset="0"/>
              </a:rPr>
              <a:t>Investment</a:t>
            </a:r>
            <a:r>
              <a:rPr lang="en-GB" sz="1000" b="0" i="0" u="none" strike="noStrike" dirty="0">
                <a:solidFill>
                  <a:srgbClr val="000000"/>
                </a:solidFill>
                <a:effectLst/>
                <a:latin typeface="Helvetica" pitchFamily="2" charset="0"/>
              </a:rPr>
              <a:t> </a:t>
            </a:r>
            <a:r>
              <a:rPr lang="en-GB" sz="1000" spc="-10" dirty="0">
                <a:latin typeface="Helvetica" pitchFamily="2" charset="0"/>
              </a:rPr>
              <a:t>insights on M&amp;A, VC, and PE deals.</a:t>
            </a:r>
          </a:p>
          <a:p>
            <a:endParaRPr lang="en-GB" sz="1000" spc="-10" dirty="0">
              <a:latin typeface="Helvetica" pitchFamily="2" charset="0"/>
            </a:endParaRPr>
          </a:p>
          <a:p>
            <a:r>
              <a:rPr lang="en-GB" sz="1000" b="1" spc="-10" dirty="0">
                <a:latin typeface="Helvetica" pitchFamily="2" charset="0"/>
              </a:rPr>
              <a:t>Goal : To develop expertise in Fintech M&amp;A.</a:t>
            </a:r>
            <a:endParaRPr lang="en-IT" sz="1000" b="1" spc="-10" dirty="0">
              <a:latin typeface="Helvetica" pitchFamily="2" charset="0"/>
            </a:endParaRPr>
          </a:p>
        </p:txBody>
      </p:sp>
      <p:sp>
        <p:nvSpPr>
          <p:cNvPr id="7" name="TextBox 6">
            <a:extLst>
              <a:ext uri="{FF2B5EF4-FFF2-40B4-BE49-F238E27FC236}">
                <a16:creationId xmlns:a16="http://schemas.microsoft.com/office/drawing/2014/main" id="{D438F508-2AE9-DA16-01C4-6B6182A2CE36}"/>
              </a:ext>
            </a:extLst>
          </p:cNvPr>
          <p:cNvSpPr txBox="1"/>
          <p:nvPr/>
        </p:nvSpPr>
        <p:spPr>
          <a:xfrm>
            <a:off x="3628267" y="3924771"/>
            <a:ext cx="1176589" cy="246221"/>
          </a:xfrm>
          <a:prstGeom prst="rect">
            <a:avLst/>
          </a:prstGeom>
          <a:noFill/>
        </p:spPr>
        <p:txBody>
          <a:bodyPr wrap="square" rtlCol="0">
            <a:spAutoFit/>
          </a:bodyPr>
          <a:lstStyle/>
          <a:p>
            <a:r>
              <a:rPr lang="it-IT" sz="1000" b="1" spc="-5" dirty="0">
                <a:solidFill>
                  <a:srgbClr val="7030A0"/>
                </a:solidFill>
                <a:latin typeface="Helvetica" pitchFamily="2" charset="0"/>
                <a:cs typeface="Arial"/>
              </a:rPr>
              <a:t>Public Relations</a:t>
            </a:r>
            <a:endParaRPr lang="it-IT" sz="1000" dirty="0">
              <a:solidFill>
                <a:srgbClr val="7030A0"/>
              </a:solidFill>
              <a:latin typeface="Helvetica" pitchFamily="2" charset="0"/>
              <a:cs typeface="Arial"/>
            </a:endParaRPr>
          </a:p>
        </p:txBody>
      </p:sp>
      <p:sp>
        <p:nvSpPr>
          <p:cNvPr id="8" name="TextBox 7">
            <a:extLst>
              <a:ext uri="{FF2B5EF4-FFF2-40B4-BE49-F238E27FC236}">
                <a16:creationId xmlns:a16="http://schemas.microsoft.com/office/drawing/2014/main" id="{99A1355F-752E-0674-5FA9-869EC270D01F}"/>
              </a:ext>
            </a:extLst>
          </p:cNvPr>
          <p:cNvSpPr txBox="1"/>
          <p:nvPr/>
        </p:nvSpPr>
        <p:spPr>
          <a:xfrm>
            <a:off x="349420" y="3937003"/>
            <a:ext cx="1227236" cy="246221"/>
          </a:xfrm>
          <a:prstGeom prst="rect">
            <a:avLst/>
          </a:prstGeom>
          <a:noFill/>
        </p:spPr>
        <p:txBody>
          <a:bodyPr wrap="square" rtlCol="0">
            <a:spAutoFit/>
          </a:bodyPr>
          <a:lstStyle/>
          <a:p>
            <a:pPr algn="ctr"/>
            <a:r>
              <a:rPr lang="en-GB" sz="1000" b="1" spc="-10" dirty="0">
                <a:solidFill>
                  <a:schemeClr val="bg1"/>
                </a:solidFill>
                <a:latin typeface="Helvetica" pitchFamily="2" charset="0"/>
                <a:cs typeface="Arial"/>
              </a:rPr>
              <a:t>Generalist</a:t>
            </a:r>
            <a:endParaRPr lang="en-IT" sz="1000" dirty="0">
              <a:solidFill>
                <a:schemeClr val="bg1"/>
              </a:solidFill>
              <a:latin typeface="Helvetica" pitchFamily="2" charset="0"/>
            </a:endParaRPr>
          </a:p>
        </p:txBody>
      </p:sp>
      <p:sp>
        <p:nvSpPr>
          <p:cNvPr id="9" name="TextBox 8">
            <a:extLst>
              <a:ext uri="{FF2B5EF4-FFF2-40B4-BE49-F238E27FC236}">
                <a16:creationId xmlns:a16="http://schemas.microsoft.com/office/drawing/2014/main" id="{37FEDEBC-BC20-9A57-EEF1-78EF4B869099}"/>
              </a:ext>
            </a:extLst>
          </p:cNvPr>
          <p:cNvSpPr txBox="1"/>
          <p:nvPr/>
        </p:nvSpPr>
        <p:spPr>
          <a:xfrm>
            <a:off x="5205765" y="3958299"/>
            <a:ext cx="1244937" cy="523220"/>
          </a:xfrm>
          <a:prstGeom prst="rect">
            <a:avLst/>
          </a:prstGeom>
          <a:noFill/>
        </p:spPr>
        <p:txBody>
          <a:bodyPr wrap="square" rtlCol="0">
            <a:spAutoFit/>
          </a:bodyPr>
          <a:lstStyle/>
          <a:p>
            <a:pPr algn="ctr"/>
            <a:r>
              <a:rPr lang="it-IT" sz="1000" b="1" spc="-5" dirty="0">
                <a:solidFill>
                  <a:srgbClr val="FF0000"/>
                </a:solidFill>
                <a:latin typeface="Helvetica" pitchFamily="2" charset="0"/>
                <a:cs typeface="Arial"/>
              </a:rPr>
              <a:t>Data Analysis</a:t>
            </a:r>
            <a:endParaRPr lang="it-IT" sz="1000" dirty="0">
              <a:solidFill>
                <a:srgbClr val="FF0000"/>
              </a:solidFill>
              <a:latin typeface="Helvetica" pitchFamily="2" charset="0"/>
              <a:cs typeface="Arial"/>
            </a:endParaRPr>
          </a:p>
          <a:p>
            <a:endParaRPr lang="en-IT" dirty="0"/>
          </a:p>
        </p:txBody>
      </p:sp>
      <p:sp>
        <p:nvSpPr>
          <p:cNvPr id="12" name="Date Placeholder 3">
            <a:extLst>
              <a:ext uri="{FF2B5EF4-FFF2-40B4-BE49-F238E27FC236}">
                <a16:creationId xmlns:a16="http://schemas.microsoft.com/office/drawing/2014/main" id="{DD696AE3-33F1-0392-6A26-936B1EBDDE4E}"/>
              </a:ext>
            </a:extLst>
          </p:cNvPr>
          <p:cNvSpPr txBox="1">
            <a:spLocks/>
          </p:cNvSpPr>
          <p:nvPr/>
        </p:nvSpPr>
        <p:spPr>
          <a:xfrm>
            <a:off x="357680" y="6356351"/>
            <a:ext cx="20574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Arial" panose="020B0604020202020204" pitchFamily="34" charset="0"/>
                <a:cs typeface="Arial" panose="020B0604020202020204" pitchFamily="34" charset="0"/>
              </a:rPr>
              <a:t>November 20, 2024</a:t>
            </a:r>
          </a:p>
        </p:txBody>
      </p:sp>
    </p:spTree>
    <p:extLst>
      <p:ext uri="{BB962C8B-B14F-4D97-AF65-F5344CB8AC3E}">
        <p14:creationId xmlns:p14="http://schemas.microsoft.com/office/powerpoint/2010/main" val="26264209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D5DBA-FA6C-1CA1-5FF0-37B2C5C581F2}"/>
              </a:ext>
            </a:extLst>
          </p:cNvPr>
          <p:cNvSpPr>
            <a:spLocks noGrp="1"/>
          </p:cNvSpPr>
          <p:nvPr>
            <p:ph type="title"/>
          </p:nvPr>
        </p:nvSpPr>
        <p:spPr/>
        <p:txBody>
          <a:bodyPr>
            <a:normAutofit/>
          </a:bodyPr>
          <a:lstStyle/>
          <a:p>
            <a:r>
              <a:rPr lang="en-US" sz="2200" dirty="0"/>
              <a:t>Generalist: AI In Investment Decisions: Pros and Cons</a:t>
            </a:r>
          </a:p>
        </p:txBody>
      </p:sp>
      <p:sp>
        <p:nvSpPr>
          <p:cNvPr id="3" name="Content Placeholder 2">
            <a:extLst>
              <a:ext uri="{FF2B5EF4-FFF2-40B4-BE49-F238E27FC236}">
                <a16:creationId xmlns:a16="http://schemas.microsoft.com/office/drawing/2014/main" id="{ADD77B1C-EF66-FB5A-ED5C-0B358D9C7B55}"/>
              </a:ext>
            </a:extLst>
          </p:cNvPr>
          <p:cNvSpPr>
            <a:spLocks noGrp="1"/>
          </p:cNvSpPr>
          <p:nvPr>
            <p:ph idx="1"/>
          </p:nvPr>
        </p:nvSpPr>
        <p:spPr>
          <a:xfrm>
            <a:off x="215445" y="1298847"/>
            <a:ext cx="8429625" cy="425450"/>
          </a:xfrm>
        </p:spPr>
        <p:txBody>
          <a:bodyPr>
            <a:normAutofit/>
          </a:bodyPr>
          <a:lstStyle/>
          <a:p>
            <a:r>
              <a:rPr lang="en-US" sz="1500" dirty="0"/>
              <a:t>Project Overview </a:t>
            </a:r>
          </a:p>
        </p:txBody>
      </p:sp>
      <p:sp>
        <p:nvSpPr>
          <p:cNvPr id="5" name="Slide Number Placeholder 4">
            <a:extLst>
              <a:ext uri="{FF2B5EF4-FFF2-40B4-BE49-F238E27FC236}">
                <a16:creationId xmlns:a16="http://schemas.microsoft.com/office/drawing/2014/main" id="{D649C08A-8B92-22F3-9EF7-CE31C13F8F5D}"/>
              </a:ext>
            </a:extLst>
          </p:cNvPr>
          <p:cNvSpPr>
            <a:spLocks noGrp="1"/>
          </p:cNvSpPr>
          <p:nvPr>
            <p:ph type="sldNum" sz="quarter" idx="12"/>
          </p:nvPr>
        </p:nvSpPr>
        <p:spPr/>
        <p:txBody>
          <a:bodyPr/>
          <a:lstStyle/>
          <a:p>
            <a:fld id="{330EA680-D336-4FF7-8B7A-9848BB0A1C32}" type="slidenum">
              <a:rPr lang="en-US" smtClean="0"/>
              <a:pPr/>
              <a:t>20</a:t>
            </a:fld>
            <a:endParaRPr lang="en-US"/>
          </a:p>
        </p:txBody>
      </p:sp>
      <p:sp>
        <p:nvSpPr>
          <p:cNvPr id="7" name="Content Placeholder 6">
            <a:extLst>
              <a:ext uri="{FF2B5EF4-FFF2-40B4-BE49-F238E27FC236}">
                <a16:creationId xmlns:a16="http://schemas.microsoft.com/office/drawing/2014/main" id="{DC2D55D2-86DB-9F72-760A-835B3FCD33AE}"/>
              </a:ext>
            </a:extLst>
          </p:cNvPr>
          <p:cNvSpPr>
            <a:spLocks noGrp="1"/>
          </p:cNvSpPr>
          <p:nvPr>
            <p:ph idx="14"/>
          </p:nvPr>
        </p:nvSpPr>
        <p:spPr>
          <a:xfrm>
            <a:off x="195345" y="1660969"/>
            <a:ext cx="4077519" cy="1604281"/>
          </a:xfrm>
        </p:spPr>
        <p:txBody>
          <a:bodyPr>
            <a:normAutofit fontScale="92500" lnSpcReduction="20000"/>
          </a:bodyPr>
          <a:lstStyle/>
          <a:p>
            <a:pPr marL="342900" indent="-342900">
              <a:lnSpc>
                <a:spcPct val="100000"/>
              </a:lnSpc>
              <a:spcBef>
                <a:spcPts val="0"/>
              </a:spcBef>
              <a:buFont typeface="Arial" panose="020B0604020202020204" pitchFamily="34" charset="0"/>
              <a:buChar char="•"/>
            </a:pPr>
            <a:r>
              <a:rPr lang="en-US" sz="1300" dirty="0"/>
              <a:t>AI is transforming investment decision making.</a:t>
            </a:r>
          </a:p>
          <a:p>
            <a:pPr>
              <a:lnSpc>
                <a:spcPct val="100000"/>
              </a:lnSpc>
              <a:spcBef>
                <a:spcPts val="0"/>
              </a:spcBef>
            </a:pPr>
            <a:endParaRPr lang="en-US" sz="1300" dirty="0"/>
          </a:p>
          <a:p>
            <a:pPr marL="342900" indent="-342900">
              <a:lnSpc>
                <a:spcPct val="100000"/>
              </a:lnSpc>
              <a:spcBef>
                <a:spcPts val="0"/>
              </a:spcBef>
              <a:buFont typeface="Arial" panose="020B0604020202020204" pitchFamily="34" charset="0"/>
              <a:buChar char="•"/>
            </a:pPr>
            <a:r>
              <a:rPr lang="en-US" sz="1300" dirty="0"/>
              <a:t>Venture capital and investment firms are increasingly relying on AI to analyze multiple sources of data, predict trends, and make decisions with greater efficiency.</a:t>
            </a:r>
          </a:p>
          <a:p>
            <a:pPr>
              <a:lnSpc>
                <a:spcPct val="100000"/>
              </a:lnSpc>
              <a:spcBef>
                <a:spcPts val="0"/>
              </a:spcBef>
            </a:pPr>
            <a:endParaRPr lang="en-US" sz="1300" dirty="0"/>
          </a:p>
          <a:p>
            <a:pPr marL="342900" indent="-342900">
              <a:lnSpc>
                <a:spcPct val="100000"/>
              </a:lnSpc>
              <a:spcBef>
                <a:spcPts val="0"/>
              </a:spcBef>
              <a:buFont typeface="Arial" panose="020B0604020202020204" pitchFamily="34" charset="0"/>
              <a:buChar char="•"/>
            </a:pPr>
            <a:r>
              <a:rPr lang="en-US" sz="1300" dirty="0"/>
              <a:t>Can AI fully replace the human judgment aspect in investment decisions, and what concerns or benefits does this bring?</a:t>
            </a:r>
          </a:p>
          <a:p>
            <a:pPr marL="342900" indent="-342900">
              <a:lnSpc>
                <a:spcPct val="100000"/>
              </a:lnSpc>
              <a:spcBef>
                <a:spcPts val="0"/>
              </a:spcBef>
              <a:buFont typeface="Arial" panose="020B0604020202020204" pitchFamily="34" charset="0"/>
              <a:buChar char="•"/>
            </a:pPr>
            <a:endParaRPr lang="en-US" sz="600" dirty="0"/>
          </a:p>
        </p:txBody>
      </p:sp>
      <p:sp>
        <p:nvSpPr>
          <p:cNvPr id="9" name="Content Placeholder 6">
            <a:extLst>
              <a:ext uri="{FF2B5EF4-FFF2-40B4-BE49-F238E27FC236}">
                <a16:creationId xmlns:a16="http://schemas.microsoft.com/office/drawing/2014/main" id="{309EAA7C-A0B8-5AA3-A739-1AF0AFFDADDC}"/>
              </a:ext>
            </a:extLst>
          </p:cNvPr>
          <p:cNvSpPr txBox="1">
            <a:spLocks/>
          </p:cNvSpPr>
          <p:nvPr/>
        </p:nvSpPr>
        <p:spPr>
          <a:xfrm>
            <a:off x="195345" y="3206519"/>
            <a:ext cx="4376655" cy="1604281"/>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500" b="1" dirty="0">
                <a:solidFill>
                  <a:schemeClr val="tx2"/>
                </a:solidFill>
              </a:rPr>
              <a:t>Traditional VC </a:t>
            </a:r>
          </a:p>
          <a:p>
            <a:pPr marL="171450" indent="-171450">
              <a:lnSpc>
                <a:spcPct val="100000"/>
              </a:lnSpc>
              <a:spcBef>
                <a:spcPts val="0"/>
              </a:spcBef>
              <a:buFont typeface="Arial" panose="020B0604020202020204" pitchFamily="34" charset="0"/>
              <a:buChar char="•"/>
            </a:pPr>
            <a:endParaRPr lang="en-US" sz="1400" b="1" dirty="0">
              <a:solidFill>
                <a:schemeClr val="tx2"/>
              </a:solidFill>
            </a:endParaRPr>
          </a:p>
          <a:p>
            <a:pPr marL="171450" indent="-171450">
              <a:lnSpc>
                <a:spcPct val="100000"/>
              </a:lnSpc>
              <a:spcBef>
                <a:spcPts val="0"/>
              </a:spcBef>
              <a:buFont typeface="Arial" panose="020B0604020202020204" pitchFamily="34" charset="0"/>
              <a:buChar char="•"/>
            </a:pPr>
            <a:r>
              <a:rPr lang="en-US" sz="1200" dirty="0"/>
              <a:t>VC decisions rely on trust and interactions with founders.</a:t>
            </a:r>
          </a:p>
          <a:p>
            <a:pPr>
              <a:lnSpc>
                <a:spcPct val="100000"/>
              </a:lnSpc>
              <a:spcBef>
                <a:spcPts val="0"/>
              </a:spcBef>
            </a:pPr>
            <a:endParaRPr lang="en-US" sz="1200" dirty="0"/>
          </a:p>
          <a:p>
            <a:pPr marL="171450" indent="-171450">
              <a:lnSpc>
                <a:spcPct val="100000"/>
              </a:lnSpc>
              <a:spcBef>
                <a:spcPts val="0"/>
              </a:spcBef>
              <a:buFont typeface="Arial" panose="020B0604020202020204" pitchFamily="34" charset="0"/>
              <a:buChar char="•"/>
            </a:pPr>
            <a:r>
              <a:rPr lang="en-US" sz="1200" dirty="0"/>
              <a:t>Explore different types of bias in these personal interactions such as </a:t>
            </a:r>
            <a:r>
              <a:rPr lang="en-US" sz="1200" b="1" dirty="0"/>
              <a:t>confirmation</a:t>
            </a:r>
            <a:r>
              <a:rPr lang="en-US" sz="1200" dirty="0"/>
              <a:t> bias, </a:t>
            </a:r>
            <a:r>
              <a:rPr lang="en-US" sz="1200" b="1" dirty="0"/>
              <a:t>gender</a:t>
            </a:r>
            <a:r>
              <a:rPr lang="en-US" sz="1200" dirty="0"/>
              <a:t> bias, </a:t>
            </a:r>
            <a:r>
              <a:rPr lang="en-US" sz="1200" b="1" dirty="0"/>
              <a:t>similarity</a:t>
            </a:r>
            <a:r>
              <a:rPr lang="en-US" sz="1200" dirty="0"/>
              <a:t> bias and how specific AI technology would eradicate these sources of bias.</a:t>
            </a:r>
          </a:p>
          <a:p>
            <a:pPr marL="171450" indent="-171450">
              <a:lnSpc>
                <a:spcPct val="100000"/>
              </a:lnSpc>
              <a:spcBef>
                <a:spcPts val="0"/>
              </a:spcBef>
              <a:buFont typeface="Arial" panose="020B0604020202020204" pitchFamily="34" charset="0"/>
              <a:buChar char="•"/>
            </a:pPr>
            <a:endParaRPr lang="en-US" sz="1200" dirty="0"/>
          </a:p>
          <a:p>
            <a:pPr>
              <a:lnSpc>
                <a:spcPct val="100000"/>
              </a:lnSpc>
              <a:spcBef>
                <a:spcPts val="0"/>
              </a:spcBef>
            </a:pPr>
            <a:endParaRPr lang="en-US" sz="1200" dirty="0"/>
          </a:p>
          <a:p>
            <a:pPr>
              <a:lnSpc>
                <a:spcPct val="100000"/>
              </a:lnSpc>
              <a:spcBef>
                <a:spcPts val="0"/>
              </a:spcBef>
            </a:pPr>
            <a:endParaRPr lang="en-US" sz="1200" dirty="0"/>
          </a:p>
        </p:txBody>
      </p:sp>
      <p:sp>
        <p:nvSpPr>
          <p:cNvPr id="10" name="Content Placeholder 6">
            <a:extLst>
              <a:ext uri="{FF2B5EF4-FFF2-40B4-BE49-F238E27FC236}">
                <a16:creationId xmlns:a16="http://schemas.microsoft.com/office/drawing/2014/main" id="{C6152012-7886-2B0F-119A-9EE8B38DC4B7}"/>
              </a:ext>
            </a:extLst>
          </p:cNvPr>
          <p:cNvSpPr txBox="1">
            <a:spLocks/>
          </p:cNvSpPr>
          <p:nvPr/>
        </p:nvSpPr>
        <p:spPr>
          <a:xfrm>
            <a:off x="4430258" y="1346553"/>
            <a:ext cx="4077519" cy="1795847"/>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500" b="1" dirty="0">
                <a:solidFill>
                  <a:schemeClr val="tx2"/>
                </a:solidFill>
              </a:rPr>
              <a:t>Technological Analysis </a:t>
            </a:r>
          </a:p>
          <a:p>
            <a:pPr>
              <a:lnSpc>
                <a:spcPct val="100000"/>
              </a:lnSpc>
              <a:spcBef>
                <a:spcPts val="0"/>
              </a:spcBef>
            </a:pPr>
            <a:endParaRPr lang="en-US" sz="1400" b="1" dirty="0">
              <a:solidFill>
                <a:schemeClr val="tx2"/>
              </a:solidFill>
            </a:endParaRPr>
          </a:p>
          <a:p>
            <a:pPr marL="171450" indent="-171450">
              <a:lnSpc>
                <a:spcPct val="100000"/>
              </a:lnSpc>
              <a:spcBef>
                <a:spcPts val="0"/>
              </a:spcBef>
              <a:buFont typeface="Arial" panose="020B0604020202020204" pitchFamily="34" charset="0"/>
              <a:buChar char="•"/>
            </a:pPr>
            <a:r>
              <a:rPr lang="en-US" sz="1200" dirty="0"/>
              <a:t>Study the different types of AI technologies that are used to maximize success rates in investment decisions, compare outcomes with human investments.</a:t>
            </a:r>
          </a:p>
          <a:p>
            <a:pPr>
              <a:lnSpc>
                <a:spcPct val="100000"/>
              </a:lnSpc>
              <a:spcBef>
                <a:spcPts val="0"/>
              </a:spcBef>
            </a:pPr>
            <a:endParaRPr lang="en-US" sz="1200" dirty="0"/>
          </a:p>
          <a:p>
            <a:pPr marL="171450" indent="-171450">
              <a:lnSpc>
                <a:spcPct val="100000"/>
              </a:lnSpc>
              <a:spcBef>
                <a:spcPts val="0"/>
              </a:spcBef>
              <a:buFont typeface="Arial" panose="020B0604020202020204" pitchFamily="34" charset="0"/>
              <a:buChar char="•"/>
            </a:pPr>
            <a:r>
              <a:rPr lang="en-US" sz="1200" dirty="0"/>
              <a:t>Analyze the benefits of eradicating sources of bias in investments.</a:t>
            </a:r>
          </a:p>
          <a:p>
            <a:pPr>
              <a:lnSpc>
                <a:spcPct val="100000"/>
              </a:lnSpc>
              <a:spcBef>
                <a:spcPts val="0"/>
              </a:spcBef>
            </a:pPr>
            <a:endParaRPr lang="en-US" sz="1200" dirty="0"/>
          </a:p>
        </p:txBody>
      </p:sp>
      <p:sp>
        <p:nvSpPr>
          <p:cNvPr id="18" name="Rectangle 17">
            <a:extLst>
              <a:ext uri="{FF2B5EF4-FFF2-40B4-BE49-F238E27FC236}">
                <a16:creationId xmlns:a16="http://schemas.microsoft.com/office/drawing/2014/main" id="{214D6C63-C550-21C7-9DD2-8FAB2900FBC2}"/>
              </a:ext>
            </a:extLst>
          </p:cNvPr>
          <p:cNvSpPr/>
          <p:nvPr/>
        </p:nvSpPr>
        <p:spPr>
          <a:xfrm>
            <a:off x="356695" y="5688280"/>
            <a:ext cx="8429625" cy="178130"/>
          </a:xfrm>
          <a:prstGeom prst="rect">
            <a:avLst/>
          </a:prstGeom>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6">
            <a:extLst>
              <a:ext uri="{FF2B5EF4-FFF2-40B4-BE49-F238E27FC236}">
                <a16:creationId xmlns:a16="http://schemas.microsoft.com/office/drawing/2014/main" id="{6A605144-9AA5-940B-08F1-9A249E9DCA2D}"/>
              </a:ext>
            </a:extLst>
          </p:cNvPr>
          <p:cNvSpPr txBox="1">
            <a:spLocks/>
          </p:cNvSpPr>
          <p:nvPr/>
        </p:nvSpPr>
        <p:spPr>
          <a:xfrm>
            <a:off x="4571507" y="3217739"/>
            <a:ext cx="4077519" cy="1604281"/>
          </a:xfrm>
          <a:prstGeom prst="rect">
            <a:avLst/>
          </a:prstGeom>
        </p:spPr>
        <p:txBody>
          <a:bodyPr vert="horz" lIns="91440" tIns="45720" rIns="91440" bIns="45720" rtlCol="0">
            <a:normAutofit fontScale="62500" lnSpcReduction="20000"/>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2400" b="1" dirty="0">
                <a:solidFill>
                  <a:schemeClr val="tx2"/>
                </a:solidFill>
              </a:rPr>
              <a:t>Limitations </a:t>
            </a:r>
          </a:p>
          <a:p>
            <a:pPr>
              <a:lnSpc>
                <a:spcPct val="100000"/>
              </a:lnSpc>
              <a:spcBef>
                <a:spcPts val="0"/>
              </a:spcBef>
            </a:pPr>
            <a:endParaRPr lang="en-US" sz="1500" b="1" dirty="0">
              <a:solidFill>
                <a:schemeClr val="tx2"/>
              </a:solidFill>
            </a:endParaRPr>
          </a:p>
          <a:p>
            <a:pPr marL="171450" indent="-171450">
              <a:lnSpc>
                <a:spcPct val="100000"/>
              </a:lnSpc>
              <a:spcBef>
                <a:spcPts val="0"/>
              </a:spcBef>
              <a:buFont typeface="Arial" panose="020B0604020202020204" pitchFamily="34" charset="0"/>
              <a:buChar char="•"/>
            </a:pPr>
            <a:r>
              <a:rPr lang="en-US" sz="1900" dirty="0"/>
              <a:t>AI technology may fully dissolve human interactions which has risks :  </a:t>
            </a:r>
          </a:p>
          <a:p>
            <a:pPr>
              <a:lnSpc>
                <a:spcPct val="100000"/>
              </a:lnSpc>
              <a:spcBef>
                <a:spcPts val="0"/>
              </a:spcBef>
            </a:pPr>
            <a:endParaRPr lang="en-US" sz="1900" dirty="0"/>
          </a:p>
          <a:p>
            <a:pPr marL="171450" indent="-171450">
              <a:lnSpc>
                <a:spcPct val="100000"/>
              </a:lnSpc>
              <a:spcBef>
                <a:spcPts val="0"/>
              </a:spcBef>
              <a:buFont typeface="Arial" panose="020B0604020202020204" pitchFamily="34" charset="0"/>
              <a:buChar char="•"/>
            </a:pPr>
            <a:r>
              <a:rPr lang="en-US" sz="1900" dirty="0"/>
              <a:t>Startups with impressive leadership but limited data may struggle to secure funding. </a:t>
            </a:r>
          </a:p>
          <a:p>
            <a:pPr>
              <a:lnSpc>
                <a:spcPct val="100000"/>
              </a:lnSpc>
              <a:spcBef>
                <a:spcPts val="0"/>
              </a:spcBef>
            </a:pPr>
            <a:endParaRPr lang="en-US" sz="1900" dirty="0"/>
          </a:p>
          <a:p>
            <a:pPr marL="171450" indent="-171450">
              <a:lnSpc>
                <a:spcPct val="100000"/>
              </a:lnSpc>
              <a:spcBef>
                <a:spcPts val="0"/>
              </a:spcBef>
              <a:buFont typeface="Arial" panose="020B0604020202020204" pitchFamily="34" charset="0"/>
              <a:buChar char="•"/>
            </a:pPr>
            <a:r>
              <a:rPr lang="en-US" sz="1900" dirty="0"/>
              <a:t>Explore the necessity of human relationships in investments. </a:t>
            </a:r>
          </a:p>
          <a:p>
            <a:pPr>
              <a:lnSpc>
                <a:spcPct val="100000"/>
              </a:lnSpc>
              <a:spcBef>
                <a:spcPts val="0"/>
              </a:spcBef>
            </a:pPr>
            <a:endParaRPr lang="en-US" sz="1200" dirty="0"/>
          </a:p>
        </p:txBody>
      </p:sp>
      <p:sp>
        <p:nvSpPr>
          <p:cNvPr id="13" name="Content Placeholder 6">
            <a:extLst>
              <a:ext uri="{FF2B5EF4-FFF2-40B4-BE49-F238E27FC236}">
                <a16:creationId xmlns:a16="http://schemas.microsoft.com/office/drawing/2014/main" id="{74B63ED9-D1A3-38EE-92A4-1F7CF178E5D4}"/>
              </a:ext>
            </a:extLst>
          </p:cNvPr>
          <p:cNvSpPr txBox="1">
            <a:spLocks/>
          </p:cNvSpPr>
          <p:nvPr/>
        </p:nvSpPr>
        <p:spPr>
          <a:xfrm>
            <a:off x="2611938" y="4886139"/>
            <a:ext cx="3636638" cy="138353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en-US" sz="1600" b="1" dirty="0">
                <a:solidFill>
                  <a:schemeClr val="tx2"/>
                </a:solidFill>
              </a:rPr>
              <a:t>Team Members </a:t>
            </a:r>
          </a:p>
          <a:p>
            <a:pPr marL="171450" indent="-171450">
              <a:lnSpc>
                <a:spcPct val="100000"/>
              </a:lnSpc>
              <a:spcBef>
                <a:spcPts val="0"/>
              </a:spcBef>
              <a:buFont typeface="Arial" panose="020B0604020202020204" pitchFamily="34" charset="0"/>
              <a:buChar char="•"/>
            </a:pPr>
            <a:r>
              <a:rPr lang="en-US" sz="1200" dirty="0"/>
              <a:t>3- 5 students </a:t>
            </a:r>
          </a:p>
          <a:p>
            <a:pPr marL="171450" indent="-171450">
              <a:lnSpc>
                <a:spcPct val="100000"/>
              </a:lnSpc>
              <a:spcBef>
                <a:spcPts val="0"/>
              </a:spcBef>
              <a:buFont typeface="Arial" panose="020B0604020202020204" pitchFamily="34" charset="0"/>
              <a:buChar char="•"/>
            </a:pPr>
            <a:r>
              <a:rPr lang="en-US" sz="1200" dirty="0">
                <a:solidFill>
                  <a:srgbClr val="000000"/>
                </a:solidFill>
                <a:latin typeface="-webkit-standard"/>
              </a:rPr>
              <a:t>I</a:t>
            </a:r>
            <a:r>
              <a:rPr lang="en-US" sz="1200" b="0" i="0" u="none" strike="noStrike" dirty="0">
                <a:solidFill>
                  <a:srgbClr val="000000"/>
                </a:solidFill>
                <a:effectLst/>
                <a:latin typeface="-webkit-standard"/>
              </a:rPr>
              <a:t>ndividuals with knowledge in </a:t>
            </a:r>
            <a:r>
              <a:rPr lang="en-US" sz="1200" b="1" i="0" u="none" strike="noStrike" dirty="0">
                <a:solidFill>
                  <a:srgbClr val="000000"/>
                </a:solidFill>
                <a:effectLst/>
              </a:rPr>
              <a:t>machine learning</a:t>
            </a:r>
            <a:r>
              <a:rPr lang="en-US" sz="1200" b="0" i="0" u="none" strike="noStrike" dirty="0">
                <a:solidFill>
                  <a:srgbClr val="000000"/>
                </a:solidFill>
                <a:effectLst/>
                <a:latin typeface="-webkit-standard"/>
              </a:rPr>
              <a:t> </a:t>
            </a:r>
          </a:p>
          <a:p>
            <a:pPr marL="171450" indent="-171450">
              <a:lnSpc>
                <a:spcPct val="100000"/>
              </a:lnSpc>
              <a:spcBef>
                <a:spcPts val="0"/>
              </a:spcBef>
              <a:buFont typeface="Arial" panose="020B0604020202020204" pitchFamily="34" charset="0"/>
              <a:buChar char="•"/>
            </a:pPr>
            <a:r>
              <a:rPr lang="en-US" sz="1200" dirty="0">
                <a:solidFill>
                  <a:srgbClr val="000000"/>
                </a:solidFill>
                <a:latin typeface="-webkit-standard"/>
              </a:rPr>
              <a:t>Individuals </a:t>
            </a:r>
            <a:r>
              <a:rPr lang="en-US" sz="1200" b="0" i="0" u="none" strike="noStrike" dirty="0">
                <a:solidFill>
                  <a:srgbClr val="000000"/>
                </a:solidFill>
                <a:effectLst/>
                <a:latin typeface="-webkit-standard"/>
              </a:rPr>
              <a:t>who enjoy </a:t>
            </a:r>
            <a:r>
              <a:rPr lang="en-US" sz="1200" b="1" i="0" u="none" strike="noStrike" dirty="0">
                <a:solidFill>
                  <a:srgbClr val="000000"/>
                </a:solidFill>
                <a:effectLst/>
              </a:rPr>
              <a:t>researching and analyzing data</a:t>
            </a:r>
            <a:r>
              <a:rPr lang="en-US" sz="1200" b="0" i="0" u="none" strike="noStrike" dirty="0">
                <a:solidFill>
                  <a:srgbClr val="000000"/>
                </a:solidFill>
                <a:effectLst/>
                <a:latin typeface="-webkit-standard"/>
              </a:rPr>
              <a:t> to produce reports .</a:t>
            </a:r>
            <a:endParaRPr lang="en-US" sz="1200" dirty="0"/>
          </a:p>
        </p:txBody>
      </p:sp>
      <p:pic>
        <p:nvPicPr>
          <p:cNvPr id="2050" name="Picture 2" descr="Robot Handshake Images – Browse 29,907 Stock Photos, Vectors ...">
            <a:extLst>
              <a:ext uri="{FF2B5EF4-FFF2-40B4-BE49-F238E27FC236}">
                <a16:creationId xmlns:a16="http://schemas.microsoft.com/office/drawing/2014/main" id="{6086D5EA-6BBF-8B90-AF3E-F4E1E418EA5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157" b="10586"/>
          <a:stretch/>
        </p:blipFill>
        <p:spPr bwMode="auto">
          <a:xfrm>
            <a:off x="636592" y="5116501"/>
            <a:ext cx="1695450" cy="88530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51BFA1F-D460-E6DE-6316-37936BAAA3CA}"/>
              </a:ext>
            </a:extLst>
          </p:cNvPr>
          <p:cNvSpPr txBox="1"/>
          <p:nvPr/>
        </p:nvSpPr>
        <p:spPr>
          <a:xfrm>
            <a:off x="378791" y="855361"/>
            <a:ext cx="4072577" cy="492443"/>
          </a:xfrm>
          <a:prstGeom prst="rect">
            <a:avLst/>
          </a:prstGeom>
          <a:noFill/>
        </p:spPr>
        <p:txBody>
          <a:bodyPr wrap="square" rtlCol="0">
            <a:spAutoFit/>
          </a:bodyPr>
          <a:lstStyle/>
          <a:p>
            <a:r>
              <a:rPr lang="en-US" sz="1300" i="0" u="none" strike="noStrike" dirty="0">
                <a:solidFill>
                  <a:schemeClr val="accent6">
                    <a:lumMod val="50000"/>
                    <a:lumOff val="50000"/>
                  </a:schemeClr>
                </a:solidFill>
                <a:effectLst/>
                <a:latin typeface="Helvetica" pitchFamily="2" charset="0"/>
                <a:ea typeface="Brush Script MT" panose="03060802040406070304" pitchFamily="66" charset="-122"/>
                <a:cs typeface="Arial" panose="020B0604020202020204" pitchFamily="34" charset="0"/>
              </a:rPr>
              <a:t>Success Maximization </a:t>
            </a:r>
            <a:r>
              <a:rPr lang="en-US" sz="1300" dirty="0">
                <a:solidFill>
                  <a:schemeClr val="accent6">
                    <a:lumMod val="50000"/>
                    <a:lumOff val="50000"/>
                  </a:schemeClr>
                </a:solidFill>
                <a:latin typeface="Helvetica" pitchFamily="2" charset="0"/>
                <a:ea typeface="Brush Script MT" panose="03060802040406070304" pitchFamily="66" charset="-122"/>
                <a:cs typeface="Arial" panose="020B0604020202020204" pitchFamily="34" charset="0"/>
              </a:rPr>
              <a:t>and Loss of Humanity</a:t>
            </a:r>
          </a:p>
          <a:p>
            <a:endParaRPr lang="en-IT" sz="1300" dirty="0">
              <a:solidFill>
                <a:schemeClr val="accent6">
                  <a:lumMod val="50000"/>
                  <a:lumOff val="50000"/>
                </a:schemeClr>
              </a:solidFill>
              <a:latin typeface="Arial" panose="020B0604020202020204" pitchFamily="34" charset="0"/>
              <a:cs typeface="Arial" panose="020B0604020202020204" pitchFamily="34" charset="0"/>
            </a:endParaRPr>
          </a:p>
        </p:txBody>
      </p:sp>
      <p:sp>
        <p:nvSpPr>
          <p:cNvPr id="4" name="Date Placeholder 3">
            <a:extLst>
              <a:ext uri="{FF2B5EF4-FFF2-40B4-BE49-F238E27FC236}">
                <a16:creationId xmlns:a16="http://schemas.microsoft.com/office/drawing/2014/main" id="{62AF468F-4E12-0A9F-2B30-26E5BA568ABC}"/>
              </a:ext>
            </a:extLst>
          </p:cNvPr>
          <p:cNvSpPr txBox="1">
            <a:spLocks/>
          </p:cNvSpPr>
          <p:nvPr/>
        </p:nvSpPr>
        <p:spPr>
          <a:xfrm>
            <a:off x="357680" y="6356351"/>
            <a:ext cx="20574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Arial" panose="020B0604020202020204" pitchFamily="34" charset="0"/>
                <a:cs typeface="Arial" panose="020B0604020202020204" pitchFamily="34" charset="0"/>
              </a:rPr>
              <a:t>November 20, 2024</a:t>
            </a:r>
          </a:p>
        </p:txBody>
      </p:sp>
    </p:spTree>
    <p:extLst>
      <p:ext uri="{BB962C8B-B14F-4D97-AF65-F5344CB8AC3E}">
        <p14:creationId xmlns:p14="http://schemas.microsoft.com/office/powerpoint/2010/main" val="33393840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EE4C3D0-AD4F-8884-75AC-79E97FBBBDDA}"/>
              </a:ext>
            </a:extLst>
          </p:cNvPr>
          <p:cNvSpPr/>
          <p:nvPr/>
        </p:nvSpPr>
        <p:spPr>
          <a:xfrm>
            <a:off x="0" y="1"/>
            <a:ext cx="9144000" cy="6858000"/>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T" dirty="0"/>
              <a:t>C</a:t>
            </a:r>
          </a:p>
        </p:txBody>
      </p:sp>
      <p:pic>
        <p:nvPicPr>
          <p:cNvPr id="2050" name="Picture 2" descr="Bocconi Campus VR">
            <a:extLst>
              <a:ext uri="{FF2B5EF4-FFF2-40B4-BE49-F238E27FC236}">
                <a16:creationId xmlns:a16="http://schemas.microsoft.com/office/drawing/2014/main" id="{C231DC4F-F798-7931-2292-4D68E07E4612}"/>
              </a:ext>
            </a:extLst>
          </p:cNvPr>
          <p:cNvPicPr>
            <a:picLocks noChangeAspect="1" noChangeArrowheads="1"/>
          </p:cNvPicPr>
          <p:nvPr/>
        </p:nvPicPr>
        <p:blipFill rotWithShape="1">
          <a:blip r:embed="rId2">
            <a:alphaModFix amt="66000"/>
            <a:extLst>
              <a:ext uri="{28A0092B-C50C-407E-A947-70E740481C1C}">
                <a14:useLocalDpi xmlns:a14="http://schemas.microsoft.com/office/drawing/2010/main" val="0"/>
              </a:ext>
            </a:extLst>
          </a:blip>
          <a:srcRect l="10317" r="11678" b="12130"/>
          <a:stretch/>
        </p:blipFill>
        <p:spPr bwMode="auto">
          <a:xfrm>
            <a:off x="0" y="0"/>
            <a:ext cx="9144000" cy="6857999"/>
          </a:xfrm>
          <a:prstGeom prst="rect">
            <a:avLst/>
          </a:prstGeom>
          <a:noFill/>
        </p:spPr>
      </p:pic>
      <p:sp>
        <p:nvSpPr>
          <p:cNvPr id="9" name="TextBox 8">
            <a:extLst>
              <a:ext uri="{FF2B5EF4-FFF2-40B4-BE49-F238E27FC236}">
                <a16:creationId xmlns:a16="http://schemas.microsoft.com/office/drawing/2014/main" id="{80BD7497-12A0-2286-8155-307682FF0974}"/>
              </a:ext>
            </a:extLst>
          </p:cNvPr>
          <p:cNvSpPr txBox="1"/>
          <p:nvPr/>
        </p:nvSpPr>
        <p:spPr>
          <a:xfrm>
            <a:off x="1808921" y="2659558"/>
            <a:ext cx="5526157" cy="769441"/>
          </a:xfrm>
          <a:prstGeom prst="rect">
            <a:avLst/>
          </a:prstGeom>
          <a:noFill/>
          <a:effectLst>
            <a:outerShdw blurRad="50800" dist="50800" dir="3910822" algn="ctr" rotWithShape="0">
              <a:srgbClr val="000000">
                <a:alpha val="43137"/>
              </a:srgbClr>
            </a:outerShdw>
          </a:effectLst>
        </p:spPr>
        <p:txBody>
          <a:bodyPr wrap="square" rtlCol="0">
            <a:spAutoFit/>
          </a:bodyPr>
          <a:lstStyle/>
          <a:p>
            <a:r>
              <a:rPr lang="en-IT" sz="4400" b="1" dirty="0">
                <a:solidFill>
                  <a:schemeClr val="bg2"/>
                </a:solidFill>
                <a:latin typeface="BODONI 72 BOOK" pitchFamily="2" charset="0"/>
              </a:rPr>
              <a:t>Data Analysis Division</a:t>
            </a:r>
          </a:p>
        </p:txBody>
      </p:sp>
    </p:spTree>
    <p:extLst>
      <p:ext uri="{BB962C8B-B14F-4D97-AF65-F5344CB8AC3E}">
        <p14:creationId xmlns:p14="http://schemas.microsoft.com/office/powerpoint/2010/main" val="29649898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D5DBA-FA6C-1CA1-5FF0-37B2C5C581F2}"/>
              </a:ext>
            </a:extLst>
          </p:cNvPr>
          <p:cNvSpPr>
            <a:spLocks noGrp="1"/>
          </p:cNvSpPr>
          <p:nvPr>
            <p:ph type="title"/>
          </p:nvPr>
        </p:nvSpPr>
        <p:spPr/>
        <p:txBody>
          <a:bodyPr>
            <a:normAutofit fontScale="90000"/>
          </a:bodyPr>
          <a:lstStyle/>
          <a:p>
            <a:r>
              <a:rPr lang="en-US" dirty="0"/>
              <a:t>Data Analysis : Machine learning for credit card fraud detection</a:t>
            </a:r>
          </a:p>
        </p:txBody>
      </p:sp>
      <p:sp>
        <p:nvSpPr>
          <p:cNvPr id="3" name="Content Placeholder 2">
            <a:extLst>
              <a:ext uri="{FF2B5EF4-FFF2-40B4-BE49-F238E27FC236}">
                <a16:creationId xmlns:a16="http://schemas.microsoft.com/office/drawing/2014/main" id="{ADD77B1C-EF66-FB5A-ED5C-0B358D9C7B55}"/>
              </a:ext>
            </a:extLst>
          </p:cNvPr>
          <p:cNvSpPr>
            <a:spLocks noGrp="1"/>
          </p:cNvSpPr>
          <p:nvPr>
            <p:ph idx="1"/>
          </p:nvPr>
        </p:nvSpPr>
        <p:spPr>
          <a:xfrm>
            <a:off x="215445" y="1298847"/>
            <a:ext cx="3624361" cy="425450"/>
          </a:xfrm>
        </p:spPr>
        <p:txBody>
          <a:bodyPr>
            <a:normAutofit/>
          </a:bodyPr>
          <a:lstStyle/>
          <a:p>
            <a:r>
              <a:rPr lang="en-US" sz="1600" dirty="0"/>
              <a:t>Project Overview </a:t>
            </a:r>
          </a:p>
        </p:txBody>
      </p:sp>
      <p:sp>
        <p:nvSpPr>
          <p:cNvPr id="5" name="Slide Number Placeholder 4">
            <a:extLst>
              <a:ext uri="{FF2B5EF4-FFF2-40B4-BE49-F238E27FC236}">
                <a16:creationId xmlns:a16="http://schemas.microsoft.com/office/drawing/2014/main" id="{D649C08A-8B92-22F3-9EF7-CE31C13F8F5D}"/>
              </a:ext>
            </a:extLst>
          </p:cNvPr>
          <p:cNvSpPr>
            <a:spLocks noGrp="1"/>
          </p:cNvSpPr>
          <p:nvPr>
            <p:ph type="sldNum" sz="quarter" idx="12"/>
          </p:nvPr>
        </p:nvSpPr>
        <p:spPr/>
        <p:txBody>
          <a:bodyPr/>
          <a:lstStyle/>
          <a:p>
            <a:fld id="{330EA680-D336-4FF7-8B7A-9848BB0A1C32}" type="slidenum">
              <a:rPr lang="en-US" smtClean="0"/>
              <a:pPr/>
              <a:t>22</a:t>
            </a:fld>
            <a:endParaRPr lang="en-US"/>
          </a:p>
        </p:txBody>
      </p:sp>
      <p:sp>
        <p:nvSpPr>
          <p:cNvPr id="7" name="Content Placeholder 6">
            <a:extLst>
              <a:ext uri="{FF2B5EF4-FFF2-40B4-BE49-F238E27FC236}">
                <a16:creationId xmlns:a16="http://schemas.microsoft.com/office/drawing/2014/main" id="{DC2D55D2-86DB-9F72-760A-835B3FCD33AE}"/>
              </a:ext>
            </a:extLst>
          </p:cNvPr>
          <p:cNvSpPr>
            <a:spLocks noGrp="1"/>
          </p:cNvSpPr>
          <p:nvPr>
            <p:ph idx="14"/>
          </p:nvPr>
        </p:nvSpPr>
        <p:spPr>
          <a:xfrm>
            <a:off x="195345" y="1660969"/>
            <a:ext cx="4077519" cy="2535111"/>
          </a:xfrm>
        </p:spPr>
        <p:txBody>
          <a:bodyPr>
            <a:noAutofit/>
          </a:bodyPr>
          <a:lstStyle/>
          <a:p>
            <a:pPr marL="285750" indent="-285750">
              <a:lnSpc>
                <a:spcPct val="100000"/>
              </a:lnSpc>
              <a:spcBef>
                <a:spcPts val="0"/>
              </a:spcBef>
              <a:buFont typeface="Arial" panose="020B0604020202020204" pitchFamily="34" charset="0"/>
              <a:buChar char="•"/>
            </a:pPr>
            <a:r>
              <a:rPr lang="en-US" sz="1400" dirty="0"/>
              <a:t>Machine learning algorithms are widely used to detect fraudulent transactions.</a:t>
            </a:r>
          </a:p>
          <a:p>
            <a:pPr>
              <a:lnSpc>
                <a:spcPct val="100000"/>
              </a:lnSpc>
              <a:spcBef>
                <a:spcPts val="0"/>
              </a:spcBef>
            </a:pPr>
            <a:endParaRPr lang="en-US" sz="1400" dirty="0"/>
          </a:p>
          <a:p>
            <a:pPr marL="285750" indent="-285750">
              <a:lnSpc>
                <a:spcPct val="100000"/>
              </a:lnSpc>
              <a:spcBef>
                <a:spcPts val="0"/>
              </a:spcBef>
              <a:buFont typeface="Arial" panose="020B0604020202020204" pitchFamily="34" charset="0"/>
              <a:buChar char="•"/>
            </a:pPr>
            <a:r>
              <a:rPr lang="en-US" sz="1400" dirty="0"/>
              <a:t>We will discuss main algorithms used for fraud detection, how the work and what parameters they use to find fraudulent transactions. </a:t>
            </a:r>
          </a:p>
          <a:p>
            <a:pPr>
              <a:lnSpc>
                <a:spcPct val="100000"/>
              </a:lnSpc>
              <a:spcBef>
                <a:spcPts val="0"/>
              </a:spcBef>
            </a:pPr>
            <a:endParaRPr lang="en-US" sz="1400" dirty="0"/>
          </a:p>
          <a:p>
            <a:pPr marL="285750" indent="-285750">
              <a:lnSpc>
                <a:spcPct val="100000"/>
              </a:lnSpc>
              <a:spcBef>
                <a:spcPts val="0"/>
              </a:spcBef>
              <a:buFont typeface="Arial" panose="020B0604020202020204" pitchFamily="34" charset="0"/>
              <a:buChar char="•"/>
            </a:pPr>
            <a:r>
              <a:rPr lang="en-US" sz="1400" dirty="0"/>
              <a:t>We will implement the discussed models and test them on data from Kaggle and recent data from the ECB Data Portal.</a:t>
            </a:r>
          </a:p>
        </p:txBody>
      </p:sp>
      <p:sp>
        <p:nvSpPr>
          <p:cNvPr id="9" name="Content Placeholder 6">
            <a:extLst>
              <a:ext uri="{FF2B5EF4-FFF2-40B4-BE49-F238E27FC236}">
                <a16:creationId xmlns:a16="http://schemas.microsoft.com/office/drawing/2014/main" id="{309EAA7C-A0B8-5AA3-A739-1AF0AFFDADDC}"/>
              </a:ext>
            </a:extLst>
          </p:cNvPr>
          <p:cNvSpPr txBox="1">
            <a:spLocks/>
          </p:cNvSpPr>
          <p:nvPr/>
        </p:nvSpPr>
        <p:spPr>
          <a:xfrm>
            <a:off x="195345" y="3206519"/>
            <a:ext cx="4376655" cy="160428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Font typeface="Arial" panose="020B0604020202020204" pitchFamily="34" charset="0"/>
              <a:buChar char="•"/>
            </a:pPr>
            <a:endParaRPr lang="en-US" sz="1200" dirty="0"/>
          </a:p>
          <a:p>
            <a:pPr>
              <a:lnSpc>
                <a:spcPct val="100000"/>
              </a:lnSpc>
              <a:spcBef>
                <a:spcPts val="0"/>
              </a:spcBef>
            </a:pPr>
            <a:endParaRPr lang="en-US" sz="1200" dirty="0"/>
          </a:p>
          <a:p>
            <a:pPr>
              <a:lnSpc>
                <a:spcPct val="100000"/>
              </a:lnSpc>
              <a:spcBef>
                <a:spcPts val="0"/>
              </a:spcBef>
            </a:pPr>
            <a:endParaRPr lang="en-US" sz="1200" dirty="0"/>
          </a:p>
        </p:txBody>
      </p:sp>
      <p:sp>
        <p:nvSpPr>
          <p:cNvPr id="18" name="Rectangle 17">
            <a:extLst>
              <a:ext uri="{FF2B5EF4-FFF2-40B4-BE49-F238E27FC236}">
                <a16:creationId xmlns:a16="http://schemas.microsoft.com/office/drawing/2014/main" id="{214D6C63-C550-21C7-9DD2-8FAB2900FBC2}"/>
              </a:ext>
            </a:extLst>
          </p:cNvPr>
          <p:cNvSpPr/>
          <p:nvPr/>
        </p:nvSpPr>
        <p:spPr>
          <a:xfrm>
            <a:off x="356695" y="5688280"/>
            <a:ext cx="8429625" cy="178130"/>
          </a:xfrm>
          <a:prstGeom prst="rect">
            <a:avLst/>
          </a:prstGeom>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6">
            <a:extLst>
              <a:ext uri="{FF2B5EF4-FFF2-40B4-BE49-F238E27FC236}">
                <a16:creationId xmlns:a16="http://schemas.microsoft.com/office/drawing/2014/main" id="{6A605144-9AA5-940B-08F1-9A249E9DCA2D}"/>
              </a:ext>
            </a:extLst>
          </p:cNvPr>
          <p:cNvSpPr txBox="1">
            <a:spLocks/>
          </p:cNvSpPr>
          <p:nvPr/>
        </p:nvSpPr>
        <p:spPr>
          <a:xfrm>
            <a:off x="4567551" y="1336536"/>
            <a:ext cx="4077519" cy="193331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endParaRPr lang="en-US" sz="1500" b="1" dirty="0">
              <a:solidFill>
                <a:schemeClr val="tx2"/>
              </a:solidFill>
            </a:endParaRPr>
          </a:p>
          <a:p>
            <a:pPr marL="171450" indent="-171450">
              <a:lnSpc>
                <a:spcPct val="100000"/>
              </a:lnSpc>
              <a:spcBef>
                <a:spcPts val="0"/>
              </a:spcBef>
              <a:buFont typeface="Arial" panose="020B0604020202020204" pitchFamily="34" charset="0"/>
              <a:buChar char="•"/>
            </a:pPr>
            <a:endParaRPr lang="en-US" sz="1800" dirty="0"/>
          </a:p>
        </p:txBody>
      </p:sp>
      <p:pic>
        <p:nvPicPr>
          <p:cNvPr id="1026" name="Picture 2" descr="Credit Card Fraud Detection PowerPoint and Google Slides Template">
            <a:extLst>
              <a:ext uri="{FF2B5EF4-FFF2-40B4-BE49-F238E27FC236}">
                <a16:creationId xmlns:a16="http://schemas.microsoft.com/office/drawing/2014/main" id="{558B6E44-2C81-1AE1-C023-D9870EFF32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0743" y="4296309"/>
            <a:ext cx="2746722" cy="2060041"/>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6">
            <a:extLst>
              <a:ext uri="{FF2B5EF4-FFF2-40B4-BE49-F238E27FC236}">
                <a16:creationId xmlns:a16="http://schemas.microsoft.com/office/drawing/2014/main" id="{5DB70153-9FDB-6FA6-B9A0-BB70EA51B891}"/>
              </a:ext>
            </a:extLst>
          </p:cNvPr>
          <p:cNvSpPr txBox="1">
            <a:spLocks/>
          </p:cNvSpPr>
          <p:nvPr/>
        </p:nvSpPr>
        <p:spPr>
          <a:xfrm>
            <a:off x="4351066" y="1660968"/>
            <a:ext cx="4077519" cy="176803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buFont typeface="Arial" panose="020B0604020202020204" pitchFamily="34" charset="0"/>
              <a:buChar char="•"/>
            </a:pPr>
            <a:r>
              <a:rPr lang="en-US" sz="1400" dirty="0"/>
              <a:t>A report discussing main machine learning models used for fraud detection and our empirical findings on how good they are to find fraud in our data</a:t>
            </a:r>
          </a:p>
          <a:p>
            <a:pPr>
              <a:lnSpc>
                <a:spcPct val="100000"/>
              </a:lnSpc>
              <a:spcBef>
                <a:spcPts val="0"/>
              </a:spcBef>
            </a:pPr>
            <a:endParaRPr lang="en-US" sz="1400" dirty="0"/>
          </a:p>
          <a:p>
            <a:pPr marL="285750" indent="-285750">
              <a:lnSpc>
                <a:spcPct val="100000"/>
              </a:lnSpc>
              <a:spcBef>
                <a:spcPts val="0"/>
              </a:spcBef>
              <a:buFont typeface="Arial" panose="020B0604020202020204" pitchFamily="34" charset="0"/>
              <a:buChar char="•"/>
            </a:pPr>
            <a:r>
              <a:rPr lang="en-US" sz="1400" dirty="0"/>
              <a:t>A Python notebook implementing the discussed models</a:t>
            </a:r>
          </a:p>
          <a:p>
            <a:pPr marL="342900" indent="-342900">
              <a:lnSpc>
                <a:spcPct val="100000"/>
              </a:lnSpc>
              <a:spcBef>
                <a:spcPts val="0"/>
              </a:spcBef>
              <a:buFont typeface="Arial" panose="020B0604020202020204" pitchFamily="34" charset="0"/>
              <a:buChar char="•"/>
            </a:pPr>
            <a:endParaRPr lang="en-US" sz="1400" dirty="0"/>
          </a:p>
        </p:txBody>
      </p:sp>
      <p:sp>
        <p:nvSpPr>
          <p:cNvPr id="14" name="Content Placeholder 2">
            <a:extLst>
              <a:ext uri="{FF2B5EF4-FFF2-40B4-BE49-F238E27FC236}">
                <a16:creationId xmlns:a16="http://schemas.microsoft.com/office/drawing/2014/main" id="{61631C9E-8363-C61F-CAEE-D9837CFDB709}"/>
              </a:ext>
            </a:extLst>
          </p:cNvPr>
          <p:cNvSpPr txBox="1">
            <a:spLocks/>
          </p:cNvSpPr>
          <p:nvPr/>
        </p:nvSpPr>
        <p:spPr>
          <a:xfrm>
            <a:off x="4351066" y="1298847"/>
            <a:ext cx="3624361"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Deliverables</a:t>
            </a:r>
          </a:p>
        </p:txBody>
      </p:sp>
      <p:sp>
        <p:nvSpPr>
          <p:cNvPr id="15" name="Content Placeholder 2">
            <a:extLst>
              <a:ext uri="{FF2B5EF4-FFF2-40B4-BE49-F238E27FC236}">
                <a16:creationId xmlns:a16="http://schemas.microsoft.com/office/drawing/2014/main" id="{EBB24D3E-187D-95E0-66B1-709A0060D60C}"/>
              </a:ext>
            </a:extLst>
          </p:cNvPr>
          <p:cNvSpPr txBox="1">
            <a:spLocks/>
          </p:cNvSpPr>
          <p:nvPr/>
        </p:nvSpPr>
        <p:spPr>
          <a:xfrm>
            <a:off x="4351066" y="3461244"/>
            <a:ext cx="3624361"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eam members</a:t>
            </a:r>
          </a:p>
        </p:txBody>
      </p:sp>
      <p:sp>
        <p:nvSpPr>
          <p:cNvPr id="16" name="Content Placeholder 6">
            <a:extLst>
              <a:ext uri="{FF2B5EF4-FFF2-40B4-BE49-F238E27FC236}">
                <a16:creationId xmlns:a16="http://schemas.microsoft.com/office/drawing/2014/main" id="{00F15586-2779-98CB-1062-170DA7FDD945}"/>
              </a:ext>
            </a:extLst>
          </p:cNvPr>
          <p:cNvSpPr txBox="1">
            <a:spLocks/>
          </p:cNvSpPr>
          <p:nvPr/>
        </p:nvSpPr>
        <p:spPr>
          <a:xfrm>
            <a:off x="4351065" y="3763275"/>
            <a:ext cx="4077519" cy="176803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buFont typeface="Arial" panose="020B0604020202020204" pitchFamily="34" charset="0"/>
              <a:buChar char="•"/>
            </a:pPr>
            <a:r>
              <a:rPr lang="en-US" sz="1400" dirty="0"/>
              <a:t>3 - 5 students </a:t>
            </a:r>
          </a:p>
          <a:p>
            <a:pPr>
              <a:lnSpc>
                <a:spcPct val="100000"/>
              </a:lnSpc>
              <a:spcBef>
                <a:spcPts val="0"/>
              </a:spcBef>
            </a:pPr>
            <a:endParaRPr lang="en-US" sz="1400" dirty="0"/>
          </a:p>
          <a:p>
            <a:pPr marL="285750" indent="-285750">
              <a:lnSpc>
                <a:spcPct val="100000"/>
              </a:lnSpc>
              <a:spcBef>
                <a:spcPts val="0"/>
              </a:spcBef>
              <a:buFont typeface="Arial" panose="020B0604020202020204" pitchFamily="34" charset="0"/>
              <a:buChar char="•"/>
            </a:pPr>
            <a:r>
              <a:rPr lang="en-US" sz="1400" dirty="0">
                <a:solidFill>
                  <a:srgbClr val="000000"/>
                </a:solidFill>
              </a:rPr>
              <a:t>Individuals who are interested in machine learning and its practical application to topics in banking</a:t>
            </a:r>
          </a:p>
          <a:p>
            <a:pPr>
              <a:lnSpc>
                <a:spcPct val="100000"/>
              </a:lnSpc>
              <a:spcBef>
                <a:spcPts val="0"/>
              </a:spcBef>
            </a:pPr>
            <a:endParaRPr lang="en-US" sz="1400" dirty="0">
              <a:solidFill>
                <a:srgbClr val="000000"/>
              </a:solidFill>
            </a:endParaRPr>
          </a:p>
          <a:p>
            <a:pPr marL="285750" indent="-285750">
              <a:lnSpc>
                <a:spcPct val="100000"/>
              </a:lnSpc>
              <a:spcBef>
                <a:spcPts val="0"/>
              </a:spcBef>
              <a:buFont typeface="Arial" panose="020B0604020202020204" pitchFamily="34" charset="0"/>
              <a:buChar char="•"/>
            </a:pPr>
            <a:r>
              <a:rPr lang="en-US" sz="1400" b="1" i="0" u="none" strike="noStrike" dirty="0">
                <a:solidFill>
                  <a:srgbClr val="000000"/>
                </a:solidFill>
                <a:effectLst/>
              </a:rPr>
              <a:t>Prev</a:t>
            </a:r>
            <a:r>
              <a:rPr lang="en-US" sz="1400" b="1" dirty="0">
                <a:solidFill>
                  <a:srgbClr val="000000"/>
                </a:solidFill>
              </a:rPr>
              <a:t>ious knowledge of machine learning algorithms is not necessary. </a:t>
            </a:r>
            <a:r>
              <a:rPr lang="en-US" sz="1400" dirty="0">
                <a:solidFill>
                  <a:srgbClr val="000000"/>
                </a:solidFill>
              </a:rPr>
              <a:t>We will learn everything during the project</a:t>
            </a:r>
            <a:endParaRPr lang="en-US" sz="1400" b="0" i="0" u="none" strike="noStrike" dirty="0">
              <a:solidFill>
                <a:srgbClr val="000000"/>
              </a:solidFill>
              <a:effectLst/>
            </a:endParaRPr>
          </a:p>
          <a:p>
            <a:pPr>
              <a:lnSpc>
                <a:spcPct val="100000"/>
              </a:lnSpc>
              <a:spcBef>
                <a:spcPts val="0"/>
              </a:spcBef>
            </a:pPr>
            <a:endParaRPr lang="en-US" sz="1400" dirty="0"/>
          </a:p>
        </p:txBody>
      </p:sp>
      <p:sp>
        <p:nvSpPr>
          <p:cNvPr id="4" name="Date Placeholder 3">
            <a:extLst>
              <a:ext uri="{FF2B5EF4-FFF2-40B4-BE49-F238E27FC236}">
                <a16:creationId xmlns:a16="http://schemas.microsoft.com/office/drawing/2014/main" id="{2DEC8AFE-59D7-E040-B0AE-94287ECC9691}"/>
              </a:ext>
            </a:extLst>
          </p:cNvPr>
          <p:cNvSpPr txBox="1">
            <a:spLocks/>
          </p:cNvSpPr>
          <p:nvPr/>
        </p:nvSpPr>
        <p:spPr>
          <a:xfrm>
            <a:off x="357680" y="6356351"/>
            <a:ext cx="20574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Arial" panose="020B0604020202020204" pitchFamily="34" charset="0"/>
                <a:cs typeface="Arial" panose="020B0604020202020204" pitchFamily="34" charset="0"/>
              </a:rPr>
              <a:t>November 20, 2024</a:t>
            </a:r>
          </a:p>
        </p:txBody>
      </p:sp>
    </p:spTree>
    <p:extLst>
      <p:ext uri="{BB962C8B-B14F-4D97-AF65-F5344CB8AC3E}">
        <p14:creationId xmlns:p14="http://schemas.microsoft.com/office/powerpoint/2010/main" val="13062396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63270-28E6-16AC-3E59-B4DC24F0E4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CFF8F3-EFE5-CB55-C810-6BC6F6F5F62D}"/>
              </a:ext>
            </a:extLst>
          </p:cNvPr>
          <p:cNvSpPr>
            <a:spLocks noGrp="1"/>
          </p:cNvSpPr>
          <p:nvPr>
            <p:ph type="title"/>
          </p:nvPr>
        </p:nvSpPr>
        <p:spPr/>
        <p:txBody>
          <a:bodyPr/>
          <a:lstStyle/>
          <a:p>
            <a:r>
              <a:rPr lang="en-US" dirty="0"/>
              <a:t>Data Analysis : Machine learning for credit scoring</a:t>
            </a:r>
          </a:p>
        </p:txBody>
      </p:sp>
      <p:sp>
        <p:nvSpPr>
          <p:cNvPr id="3" name="Content Placeholder 2">
            <a:extLst>
              <a:ext uri="{FF2B5EF4-FFF2-40B4-BE49-F238E27FC236}">
                <a16:creationId xmlns:a16="http://schemas.microsoft.com/office/drawing/2014/main" id="{EC2F6CA9-3A22-A4A8-29DA-4AEE90EDDBEB}"/>
              </a:ext>
            </a:extLst>
          </p:cNvPr>
          <p:cNvSpPr>
            <a:spLocks noGrp="1"/>
          </p:cNvSpPr>
          <p:nvPr>
            <p:ph idx="1"/>
          </p:nvPr>
        </p:nvSpPr>
        <p:spPr>
          <a:xfrm>
            <a:off x="215445" y="1298847"/>
            <a:ext cx="3624361" cy="425450"/>
          </a:xfrm>
        </p:spPr>
        <p:txBody>
          <a:bodyPr>
            <a:normAutofit/>
          </a:bodyPr>
          <a:lstStyle/>
          <a:p>
            <a:r>
              <a:rPr lang="en-US" sz="1600" dirty="0"/>
              <a:t>Project Overview </a:t>
            </a:r>
          </a:p>
        </p:txBody>
      </p:sp>
      <p:sp>
        <p:nvSpPr>
          <p:cNvPr id="5" name="Slide Number Placeholder 4">
            <a:extLst>
              <a:ext uri="{FF2B5EF4-FFF2-40B4-BE49-F238E27FC236}">
                <a16:creationId xmlns:a16="http://schemas.microsoft.com/office/drawing/2014/main" id="{7288158A-F334-E56E-1BFF-C8AF34D199C6}"/>
              </a:ext>
            </a:extLst>
          </p:cNvPr>
          <p:cNvSpPr>
            <a:spLocks noGrp="1"/>
          </p:cNvSpPr>
          <p:nvPr>
            <p:ph type="sldNum" sz="quarter" idx="12"/>
          </p:nvPr>
        </p:nvSpPr>
        <p:spPr/>
        <p:txBody>
          <a:bodyPr/>
          <a:lstStyle/>
          <a:p>
            <a:fld id="{330EA680-D336-4FF7-8B7A-9848BB0A1C32}" type="slidenum">
              <a:rPr lang="en-US" smtClean="0"/>
              <a:pPr/>
              <a:t>23</a:t>
            </a:fld>
            <a:endParaRPr lang="en-US"/>
          </a:p>
        </p:txBody>
      </p:sp>
      <p:sp>
        <p:nvSpPr>
          <p:cNvPr id="7" name="Content Placeholder 6">
            <a:extLst>
              <a:ext uri="{FF2B5EF4-FFF2-40B4-BE49-F238E27FC236}">
                <a16:creationId xmlns:a16="http://schemas.microsoft.com/office/drawing/2014/main" id="{95257570-C7B4-3AC0-962A-16AC68EA1662}"/>
              </a:ext>
            </a:extLst>
          </p:cNvPr>
          <p:cNvSpPr>
            <a:spLocks noGrp="1"/>
          </p:cNvSpPr>
          <p:nvPr>
            <p:ph idx="14"/>
          </p:nvPr>
        </p:nvSpPr>
        <p:spPr>
          <a:xfrm>
            <a:off x="195345" y="1660969"/>
            <a:ext cx="4077519" cy="2535111"/>
          </a:xfrm>
        </p:spPr>
        <p:txBody>
          <a:bodyPr>
            <a:noAutofit/>
          </a:bodyPr>
          <a:lstStyle/>
          <a:p>
            <a:pPr marL="285750" indent="-285750">
              <a:lnSpc>
                <a:spcPct val="100000"/>
              </a:lnSpc>
              <a:spcBef>
                <a:spcPts val="0"/>
              </a:spcBef>
              <a:buFont typeface="Arial" panose="020B0604020202020204" pitchFamily="34" charset="0"/>
              <a:buChar char="•"/>
            </a:pPr>
            <a:r>
              <a:rPr lang="en-US" sz="1400" dirty="0"/>
              <a:t>We will discuss main machine learning algorithms used for credit scoring, how the work and what parameters they use.</a:t>
            </a:r>
          </a:p>
          <a:p>
            <a:pPr marL="285750" indent="-285750">
              <a:lnSpc>
                <a:spcPct val="100000"/>
              </a:lnSpc>
              <a:spcBef>
                <a:spcPts val="0"/>
              </a:spcBef>
              <a:buFont typeface="Arial" panose="020B0604020202020204" pitchFamily="34" charset="0"/>
              <a:buChar char="•"/>
            </a:pPr>
            <a:endParaRPr lang="en-US" sz="1400" dirty="0"/>
          </a:p>
          <a:p>
            <a:pPr marL="285750" indent="-285750">
              <a:lnSpc>
                <a:spcPct val="100000"/>
              </a:lnSpc>
              <a:spcBef>
                <a:spcPts val="0"/>
              </a:spcBef>
              <a:buFont typeface="Arial" panose="020B0604020202020204" pitchFamily="34" charset="0"/>
              <a:buChar char="•"/>
            </a:pPr>
            <a:r>
              <a:rPr lang="en-US" sz="1400" dirty="0"/>
              <a:t>We will also research what legal and ethical limitations have to be taken into account when creating credit scoring algorithms</a:t>
            </a:r>
          </a:p>
          <a:p>
            <a:pPr marL="285750" indent="-285750">
              <a:lnSpc>
                <a:spcPct val="100000"/>
              </a:lnSpc>
              <a:spcBef>
                <a:spcPts val="0"/>
              </a:spcBef>
              <a:buFont typeface="Arial" panose="020B0604020202020204" pitchFamily="34" charset="0"/>
              <a:buChar char="•"/>
            </a:pPr>
            <a:endParaRPr lang="en-US" sz="1400" dirty="0"/>
          </a:p>
          <a:p>
            <a:pPr marL="285750" indent="-285750">
              <a:lnSpc>
                <a:spcPct val="100000"/>
              </a:lnSpc>
              <a:spcBef>
                <a:spcPts val="0"/>
              </a:spcBef>
              <a:buFont typeface="Arial" panose="020B0604020202020204" pitchFamily="34" charset="0"/>
              <a:buChar char="•"/>
            </a:pPr>
            <a:r>
              <a:rPr lang="en-US" sz="1400" dirty="0"/>
              <a:t>We will implement the discussed models and test them on datasets from German and Australian banks that include information on loan granting and repayment.</a:t>
            </a:r>
          </a:p>
        </p:txBody>
      </p:sp>
      <p:sp>
        <p:nvSpPr>
          <p:cNvPr id="9" name="Content Placeholder 6">
            <a:extLst>
              <a:ext uri="{FF2B5EF4-FFF2-40B4-BE49-F238E27FC236}">
                <a16:creationId xmlns:a16="http://schemas.microsoft.com/office/drawing/2014/main" id="{94CF6E71-0EFD-0A4D-F4FD-323C18A35542}"/>
              </a:ext>
            </a:extLst>
          </p:cNvPr>
          <p:cNvSpPr txBox="1">
            <a:spLocks/>
          </p:cNvSpPr>
          <p:nvPr/>
        </p:nvSpPr>
        <p:spPr>
          <a:xfrm>
            <a:off x="195345" y="3206519"/>
            <a:ext cx="4376655" cy="160428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0"/>
              </a:spcBef>
              <a:buFont typeface="Arial" panose="020B0604020202020204" pitchFamily="34" charset="0"/>
              <a:buChar char="•"/>
            </a:pPr>
            <a:endParaRPr lang="en-US" sz="1200" dirty="0"/>
          </a:p>
          <a:p>
            <a:pPr>
              <a:lnSpc>
                <a:spcPct val="100000"/>
              </a:lnSpc>
              <a:spcBef>
                <a:spcPts val="0"/>
              </a:spcBef>
            </a:pPr>
            <a:endParaRPr lang="en-US" sz="1200" dirty="0"/>
          </a:p>
          <a:p>
            <a:pPr>
              <a:lnSpc>
                <a:spcPct val="100000"/>
              </a:lnSpc>
              <a:spcBef>
                <a:spcPts val="0"/>
              </a:spcBef>
            </a:pPr>
            <a:endParaRPr lang="en-US" sz="1200" dirty="0"/>
          </a:p>
        </p:txBody>
      </p:sp>
      <p:sp>
        <p:nvSpPr>
          <p:cNvPr id="18" name="Rectangle 17">
            <a:extLst>
              <a:ext uri="{FF2B5EF4-FFF2-40B4-BE49-F238E27FC236}">
                <a16:creationId xmlns:a16="http://schemas.microsoft.com/office/drawing/2014/main" id="{E16F747B-8565-B9EF-D06F-37498E4F9A51}"/>
              </a:ext>
            </a:extLst>
          </p:cNvPr>
          <p:cNvSpPr/>
          <p:nvPr/>
        </p:nvSpPr>
        <p:spPr>
          <a:xfrm>
            <a:off x="356695" y="5688280"/>
            <a:ext cx="8429625" cy="178130"/>
          </a:xfrm>
          <a:prstGeom prst="rect">
            <a:avLst/>
          </a:prstGeom>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6">
            <a:extLst>
              <a:ext uri="{FF2B5EF4-FFF2-40B4-BE49-F238E27FC236}">
                <a16:creationId xmlns:a16="http://schemas.microsoft.com/office/drawing/2014/main" id="{C068FC11-11FA-E318-5E56-67441D2DD1F2}"/>
              </a:ext>
            </a:extLst>
          </p:cNvPr>
          <p:cNvSpPr txBox="1">
            <a:spLocks/>
          </p:cNvSpPr>
          <p:nvPr/>
        </p:nvSpPr>
        <p:spPr>
          <a:xfrm>
            <a:off x="4567551" y="1336536"/>
            <a:ext cx="4077519" cy="193331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endParaRPr lang="en-US" sz="1500" b="1" dirty="0">
              <a:solidFill>
                <a:schemeClr val="tx2"/>
              </a:solidFill>
            </a:endParaRPr>
          </a:p>
          <a:p>
            <a:pPr marL="171450" indent="-171450">
              <a:lnSpc>
                <a:spcPct val="100000"/>
              </a:lnSpc>
              <a:spcBef>
                <a:spcPts val="0"/>
              </a:spcBef>
              <a:buFont typeface="Arial" panose="020B0604020202020204" pitchFamily="34" charset="0"/>
              <a:buChar char="•"/>
            </a:pPr>
            <a:endParaRPr lang="en-US" sz="1800" dirty="0"/>
          </a:p>
        </p:txBody>
      </p:sp>
      <p:sp>
        <p:nvSpPr>
          <p:cNvPr id="11" name="Content Placeholder 6">
            <a:extLst>
              <a:ext uri="{FF2B5EF4-FFF2-40B4-BE49-F238E27FC236}">
                <a16:creationId xmlns:a16="http://schemas.microsoft.com/office/drawing/2014/main" id="{10081B01-B438-6F6F-2476-06D3141BD7E5}"/>
              </a:ext>
            </a:extLst>
          </p:cNvPr>
          <p:cNvSpPr txBox="1">
            <a:spLocks/>
          </p:cNvSpPr>
          <p:nvPr/>
        </p:nvSpPr>
        <p:spPr>
          <a:xfrm>
            <a:off x="4351066" y="1660968"/>
            <a:ext cx="4077519" cy="176803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buFont typeface="Arial" panose="020B0604020202020204" pitchFamily="34" charset="0"/>
              <a:buChar char="•"/>
            </a:pPr>
            <a:r>
              <a:rPr lang="en-US" sz="1400" dirty="0"/>
              <a:t>A report discussing main machine learning models, legal and ethical constraints as well as our empirical findings on how good the models predict loan repayment for our data</a:t>
            </a:r>
          </a:p>
          <a:p>
            <a:pPr>
              <a:lnSpc>
                <a:spcPct val="100000"/>
              </a:lnSpc>
              <a:spcBef>
                <a:spcPts val="0"/>
              </a:spcBef>
            </a:pPr>
            <a:endParaRPr lang="en-US" sz="1400" dirty="0"/>
          </a:p>
          <a:p>
            <a:pPr marL="285750" indent="-285750">
              <a:lnSpc>
                <a:spcPct val="100000"/>
              </a:lnSpc>
              <a:spcBef>
                <a:spcPts val="0"/>
              </a:spcBef>
              <a:buFont typeface="Arial" panose="020B0604020202020204" pitchFamily="34" charset="0"/>
              <a:buChar char="•"/>
            </a:pPr>
            <a:r>
              <a:rPr lang="en-US" sz="1400" dirty="0"/>
              <a:t>A Python notebook implementing the discussed models</a:t>
            </a:r>
          </a:p>
          <a:p>
            <a:pPr marL="342900" indent="-342900">
              <a:lnSpc>
                <a:spcPct val="100000"/>
              </a:lnSpc>
              <a:spcBef>
                <a:spcPts val="0"/>
              </a:spcBef>
              <a:buFont typeface="Arial" panose="020B0604020202020204" pitchFamily="34" charset="0"/>
              <a:buChar char="•"/>
            </a:pPr>
            <a:endParaRPr lang="en-US" sz="1400" dirty="0"/>
          </a:p>
        </p:txBody>
      </p:sp>
      <p:sp>
        <p:nvSpPr>
          <p:cNvPr id="14" name="Content Placeholder 2">
            <a:extLst>
              <a:ext uri="{FF2B5EF4-FFF2-40B4-BE49-F238E27FC236}">
                <a16:creationId xmlns:a16="http://schemas.microsoft.com/office/drawing/2014/main" id="{573AD52B-728F-6760-5966-0859E119F743}"/>
              </a:ext>
            </a:extLst>
          </p:cNvPr>
          <p:cNvSpPr txBox="1">
            <a:spLocks/>
          </p:cNvSpPr>
          <p:nvPr/>
        </p:nvSpPr>
        <p:spPr>
          <a:xfrm>
            <a:off x="4351066" y="1298847"/>
            <a:ext cx="3624361"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Deliverables</a:t>
            </a:r>
          </a:p>
        </p:txBody>
      </p:sp>
      <p:sp>
        <p:nvSpPr>
          <p:cNvPr id="15" name="Content Placeholder 2">
            <a:extLst>
              <a:ext uri="{FF2B5EF4-FFF2-40B4-BE49-F238E27FC236}">
                <a16:creationId xmlns:a16="http://schemas.microsoft.com/office/drawing/2014/main" id="{D5DEAB5B-AA18-B64C-0E93-4BA0E2A75196}"/>
              </a:ext>
            </a:extLst>
          </p:cNvPr>
          <p:cNvSpPr txBox="1">
            <a:spLocks/>
          </p:cNvSpPr>
          <p:nvPr/>
        </p:nvSpPr>
        <p:spPr>
          <a:xfrm>
            <a:off x="4351066" y="3461244"/>
            <a:ext cx="3624361"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eam members</a:t>
            </a:r>
          </a:p>
        </p:txBody>
      </p:sp>
      <p:sp>
        <p:nvSpPr>
          <p:cNvPr id="16" name="Content Placeholder 6">
            <a:extLst>
              <a:ext uri="{FF2B5EF4-FFF2-40B4-BE49-F238E27FC236}">
                <a16:creationId xmlns:a16="http://schemas.microsoft.com/office/drawing/2014/main" id="{ABA63F77-C465-9DC1-4DB6-7D7DA1A606EE}"/>
              </a:ext>
            </a:extLst>
          </p:cNvPr>
          <p:cNvSpPr txBox="1">
            <a:spLocks/>
          </p:cNvSpPr>
          <p:nvPr/>
        </p:nvSpPr>
        <p:spPr>
          <a:xfrm>
            <a:off x="4351065" y="3763275"/>
            <a:ext cx="4077519" cy="176803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buFont typeface="Arial" panose="020B0604020202020204" pitchFamily="34" charset="0"/>
              <a:buChar char="•"/>
            </a:pPr>
            <a:r>
              <a:rPr lang="en-US" sz="1400" dirty="0"/>
              <a:t>3 - 5 students </a:t>
            </a:r>
          </a:p>
          <a:p>
            <a:pPr>
              <a:lnSpc>
                <a:spcPct val="100000"/>
              </a:lnSpc>
              <a:spcBef>
                <a:spcPts val="0"/>
              </a:spcBef>
            </a:pPr>
            <a:endParaRPr lang="en-US" sz="1400" dirty="0"/>
          </a:p>
          <a:p>
            <a:pPr marL="285750" indent="-285750">
              <a:lnSpc>
                <a:spcPct val="100000"/>
              </a:lnSpc>
              <a:spcBef>
                <a:spcPts val="0"/>
              </a:spcBef>
              <a:buFont typeface="Arial" panose="020B0604020202020204" pitchFamily="34" charset="0"/>
              <a:buChar char="•"/>
            </a:pPr>
            <a:r>
              <a:rPr lang="en-US" sz="1400" dirty="0">
                <a:solidFill>
                  <a:srgbClr val="000000"/>
                </a:solidFill>
              </a:rPr>
              <a:t>Individuals who are interested in machine learning and its practical application to topics in banking</a:t>
            </a:r>
          </a:p>
          <a:p>
            <a:pPr>
              <a:lnSpc>
                <a:spcPct val="100000"/>
              </a:lnSpc>
              <a:spcBef>
                <a:spcPts val="0"/>
              </a:spcBef>
            </a:pPr>
            <a:endParaRPr lang="en-US" sz="1400" dirty="0">
              <a:solidFill>
                <a:srgbClr val="000000"/>
              </a:solidFill>
            </a:endParaRPr>
          </a:p>
          <a:p>
            <a:pPr marL="285750" indent="-285750">
              <a:lnSpc>
                <a:spcPct val="100000"/>
              </a:lnSpc>
              <a:spcBef>
                <a:spcPts val="0"/>
              </a:spcBef>
              <a:buFont typeface="Arial" panose="020B0604020202020204" pitchFamily="34" charset="0"/>
              <a:buChar char="•"/>
            </a:pPr>
            <a:r>
              <a:rPr lang="en-US" sz="1400" b="1" i="0" u="none" strike="noStrike" dirty="0">
                <a:solidFill>
                  <a:srgbClr val="000000"/>
                </a:solidFill>
                <a:effectLst/>
              </a:rPr>
              <a:t>Prev</a:t>
            </a:r>
            <a:r>
              <a:rPr lang="en-US" sz="1400" b="1" dirty="0">
                <a:solidFill>
                  <a:srgbClr val="000000"/>
                </a:solidFill>
              </a:rPr>
              <a:t>ious knowledge of machine learning algorithms is not necessary. </a:t>
            </a:r>
            <a:r>
              <a:rPr lang="en-US" sz="1400" dirty="0">
                <a:solidFill>
                  <a:srgbClr val="000000"/>
                </a:solidFill>
              </a:rPr>
              <a:t>We will learn everything during the project</a:t>
            </a:r>
            <a:endParaRPr lang="en-US" sz="1400" b="0" i="0" u="none" strike="noStrike" dirty="0">
              <a:solidFill>
                <a:srgbClr val="000000"/>
              </a:solidFill>
              <a:effectLst/>
            </a:endParaRPr>
          </a:p>
          <a:p>
            <a:pPr>
              <a:lnSpc>
                <a:spcPct val="100000"/>
              </a:lnSpc>
              <a:spcBef>
                <a:spcPts val="0"/>
              </a:spcBef>
            </a:pPr>
            <a:endParaRPr lang="en-US" sz="1400" dirty="0"/>
          </a:p>
        </p:txBody>
      </p:sp>
      <p:pic>
        <p:nvPicPr>
          <p:cNvPr id="3074" name="Picture 2" descr="Credit Scoring with Machine Learning | by Hongri Jia | Passion for Data  Science | Medium">
            <a:extLst>
              <a:ext uri="{FF2B5EF4-FFF2-40B4-BE49-F238E27FC236}">
                <a16:creationId xmlns:a16="http://schemas.microsoft.com/office/drawing/2014/main" id="{E857EEB9-BCD8-6CEB-72C7-4275AFA07C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0325" y="4594733"/>
            <a:ext cx="2905760" cy="1761617"/>
          </a:xfrm>
          <a:prstGeom prst="rect">
            <a:avLst/>
          </a:prstGeom>
          <a:noFill/>
          <a:extLst>
            <a:ext uri="{909E8E84-426E-40DD-AFC4-6F175D3DCCD1}">
              <a14:hiddenFill xmlns:a14="http://schemas.microsoft.com/office/drawing/2010/main">
                <a:solidFill>
                  <a:srgbClr val="FFFFFF"/>
                </a:solidFill>
              </a14:hiddenFill>
            </a:ext>
          </a:extLst>
        </p:spPr>
      </p:pic>
      <p:sp>
        <p:nvSpPr>
          <p:cNvPr id="4" name="Date Placeholder 3">
            <a:extLst>
              <a:ext uri="{FF2B5EF4-FFF2-40B4-BE49-F238E27FC236}">
                <a16:creationId xmlns:a16="http://schemas.microsoft.com/office/drawing/2014/main" id="{27EC8F4E-53D7-1EBC-800E-5095C334E1CD}"/>
              </a:ext>
            </a:extLst>
          </p:cNvPr>
          <p:cNvSpPr txBox="1">
            <a:spLocks/>
          </p:cNvSpPr>
          <p:nvPr/>
        </p:nvSpPr>
        <p:spPr>
          <a:xfrm>
            <a:off x="357680" y="6356351"/>
            <a:ext cx="20574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Arial" panose="020B0604020202020204" pitchFamily="34" charset="0"/>
                <a:cs typeface="Arial" panose="020B0604020202020204" pitchFamily="34" charset="0"/>
              </a:rPr>
              <a:t>November 20, 2024</a:t>
            </a:r>
          </a:p>
        </p:txBody>
      </p:sp>
    </p:spTree>
    <p:extLst>
      <p:ext uri="{BB962C8B-B14F-4D97-AF65-F5344CB8AC3E}">
        <p14:creationId xmlns:p14="http://schemas.microsoft.com/office/powerpoint/2010/main" val="11148018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8EBBB3C-36A4-474F-97D0-6CF9EB084C63}"/>
              </a:ext>
            </a:extLst>
          </p:cNvPr>
          <p:cNvSpPr>
            <a:spLocks noGrp="1"/>
          </p:cNvSpPr>
          <p:nvPr>
            <p:ph type="dt" sz="half" idx="10"/>
          </p:nvPr>
        </p:nvSpPr>
        <p:spPr/>
        <p:txBody>
          <a:bodyPr/>
          <a:lstStyle/>
          <a:p>
            <a:fld id="{C17419A9-4912-4D42-8F3D-1BD3BA7DCDCB}" type="datetime4">
              <a:rPr lang="en-US" smtClean="0"/>
              <a:pPr/>
              <a:t>November 21, 2024</a:t>
            </a:fld>
            <a:endParaRPr lang="en-US"/>
          </a:p>
        </p:txBody>
      </p:sp>
      <p:sp>
        <p:nvSpPr>
          <p:cNvPr id="4" name="Slide Number Placeholder 3">
            <a:extLst>
              <a:ext uri="{FF2B5EF4-FFF2-40B4-BE49-F238E27FC236}">
                <a16:creationId xmlns:a16="http://schemas.microsoft.com/office/drawing/2014/main" id="{6D922CBD-DF84-4469-9E34-BFB88C55A029}"/>
              </a:ext>
            </a:extLst>
          </p:cNvPr>
          <p:cNvSpPr>
            <a:spLocks noGrp="1"/>
          </p:cNvSpPr>
          <p:nvPr>
            <p:ph type="sldNum" sz="quarter" idx="11"/>
          </p:nvPr>
        </p:nvSpPr>
        <p:spPr/>
        <p:txBody>
          <a:bodyPr/>
          <a:lstStyle/>
          <a:p>
            <a:fld id="{89BE3C81-78D6-4C4B-AF0E-1C8704E0A56F}" type="slidenum">
              <a:rPr lang="en-US" smtClean="0"/>
              <a:pPr/>
              <a:t>24</a:t>
            </a:fld>
            <a:endParaRPr lang="en-US"/>
          </a:p>
        </p:txBody>
      </p:sp>
    </p:spTree>
    <p:extLst>
      <p:ext uri="{BB962C8B-B14F-4D97-AF65-F5344CB8AC3E}">
        <p14:creationId xmlns:p14="http://schemas.microsoft.com/office/powerpoint/2010/main" val="1039455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6E697E2-B57C-4B74-93E3-47EE4C4E0FC5}"/>
              </a:ext>
            </a:extLst>
          </p:cNvPr>
          <p:cNvSpPr>
            <a:spLocks noGrp="1"/>
          </p:cNvSpPr>
          <p:nvPr>
            <p:ph type="sldNum" sz="quarter" idx="12"/>
          </p:nvPr>
        </p:nvSpPr>
        <p:spPr/>
        <p:txBody>
          <a:bodyPr/>
          <a:lstStyle/>
          <a:p>
            <a:fld id="{330EA680-D336-4FF7-8B7A-9848BB0A1C32}" type="slidenum">
              <a:rPr lang="en-US" smtClean="0"/>
              <a:pPr/>
              <a:t>3</a:t>
            </a:fld>
            <a:endParaRPr lang="en-US"/>
          </a:p>
        </p:txBody>
      </p:sp>
      <p:sp>
        <p:nvSpPr>
          <p:cNvPr id="62" name="Title 1">
            <a:extLst>
              <a:ext uri="{FF2B5EF4-FFF2-40B4-BE49-F238E27FC236}">
                <a16:creationId xmlns:a16="http://schemas.microsoft.com/office/drawing/2014/main" id="{93EB7C1E-FDCB-A74A-8661-1CD03329A91C}"/>
              </a:ext>
            </a:extLst>
          </p:cNvPr>
          <p:cNvSpPr>
            <a:spLocks noGrp="1"/>
          </p:cNvSpPr>
          <p:nvPr>
            <p:ph type="title"/>
          </p:nvPr>
        </p:nvSpPr>
        <p:spPr>
          <a:xfrm>
            <a:off x="356695" y="365126"/>
            <a:ext cx="8429625" cy="744887"/>
          </a:xfrm>
        </p:spPr>
        <p:txBody>
          <a:bodyPr/>
          <a:lstStyle/>
          <a:p>
            <a:r>
              <a:rPr lang="en-US"/>
              <a:t>About Bocconi Students Fintech Society</a:t>
            </a:r>
            <a:endParaRPr lang="en-CH"/>
          </a:p>
        </p:txBody>
      </p:sp>
      <p:sp>
        <p:nvSpPr>
          <p:cNvPr id="63" name="Text Placeholder 5">
            <a:extLst>
              <a:ext uri="{FF2B5EF4-FFF2-40B4-BE49-F238E27FC236}">
                <a16:creationId xmlns:a16="http://schemas.microsoft.com/office/drawing/2014/main" id="{91123C6A-053B-9C48-9B91-2E2A9AAD2B3D}"/>
              </a:ext>
            </a:extLst>
          </p:cNvPr>
          <p:cNvSpPr txBox="1">
            <a:spLocks/>
          </p:cNvSpPr>
          <p:nvPr/>
        </p:nvSpPr>
        <p:spPr>
          <a:xfrm>
            <a:off x="356694" y="5757993"/>
            <a:ext cx="8429625"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000" kern="1200">
                <a:solidFill>
                  <a:schemeClr val="accent6"/>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1" dirty="0">
                <a:solidFill>
                  <a:schemeClr val="tx1"/>
                </a:solidFill>
              </a:rPr>
              <a:t>The Board of Directors for the first semester of the 2024-2025 academic year</a:t>
            </a:r>
            <a:endParaRPr lang="en-CH" sz="800" b="1">
              <a:solidFill>
                <a:schemeClr val="tx1"/>
              </a:solidFill>
            </a:endParaRPr>
          </a:p>
        </p:txBody>
      </p:sp>
      <p:sp>
        <p:nvSpPr>
          <p:cNvPr id="113" name="Content Placeholder 2">
            <a:extLst>
              <a:ext uri="{FF2B5EF4-FFF2-40B4-BE49-F238E27FC236}">
                <a16:creationId xmlns:a16="http://schemas.microsoft.com/office/drawing/2014/main" id="{19F1B1F8-FC5B-2B49-824E-ABD47305152B}"/>
              </a:ext>
            </a:extLst>
          </p:cNvPr>
          <p:cNvSpPr txBox="1">
            <a:spLocks/>
          </p:cNvSpPr>
          <p:nvPr/>
        </p:nvSpPr>
        <p:spPr>
          <a:xfrm>
            <a:off x="356694" y="1340428"/>
            <a:ext cx="8429625" cy="4254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accent4"/>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dirty="0">
                <a:solidFill>
                  <a:schemeClr val="tx2"/>
                </a:solidFill>
              </a:rPr>
              <a:t>Our Board consists of ambitious, dedicated and experienced students</a:t>
            </a:r>
            <a:endParaRPr lang="en-CH" sz="1500">
              <a:solidFill>
                <a:schemeClr val="tx2"/>
              </a:solidFill>
            </a:endParaRPr>
          </a:p>
          <a:p>
            <a:endParaRPr lang="en-US" dirty="0"/>
          </a:p>
        </p:txBody>
      </p:sp>
      <p:grpSp>
        <p:nvGrpSpPr>
          <p:cNvPr id="15" name="Group 14">
            <a:extLst>
              <a:ext uri="{FF2B5EF4-FFF2-40B4-BE49-F238E27FC236}">
                <a16:creationId xmlns:a16="http://schemas.microsoft.com/office/drawing/2014/main" id="{617223A2-76F4-6184-BFCD-F32AE1CC0219}"/>
              </a:ext>
            </a:extLst>
          </p:cNvPr>
          <p:cNvGrpSpPr/>
          <p:nvPr/>
        </p:nvGrpSpPr>
        <p:grpSpPr>
          <a:xfrm>
            <a:off x="3730916" y="3604839"/>
            <a:ext cx="1260001" cy="1612057"/>
            <a:chOff x="4030965" y="3400499"/>
            <a:chExt cx="1260001" cy="1612057"/>
          </a:xfrm>
        </p:grpSpPr>
        <p:grpSp>
          <p:nvGrpSpPr>
            <p:cNvPr id="13" name="Group 12">
              <a:extLst>
                <a:ext uri="{FF2B5EF4-FFF2-40B4-BE49-F238E27FC236}">
                  <a16:creationId xmlns:a16="http://schemas.microsoft.com/office/drawing/2014/main" id="{DE7CCBC0-B5A2-2D55-0860-151559ED9829}"/>
                </a:ext>
              </a:extLst>
            </p:cNvPr>
            <p:cNvGrpSpPr/>
            <p:nvPr/>
          </p:nvGrpSpPr>
          <p:grpSpPr>
            <a:xfrm>
              <a:off x="4030965" y="4476894"/>
              <a:ext cx="1260001" cy="535662"/>
              <a:chOff x="4030965" y="4476894"/>
              <a:chExt cx="1260001" cy="535662"/>
            </a:xfrm>
          </p:grpSpPr>
          <p:sp>
            <p:nvSpPr>
              <p:cNvPr id="129" name="TextBox 3">
                <a:extLst>
                  <a:ext uri="{FF2B5EF4-FFF2-40B4-BE49-F238E27FC236}">
                    <a16:creationId xmlns:a16="http://schemas.microsoft.com/office/drawing/2014/main" id="{FAA86B42-3525-1B48-9778-ACD127519C2C}"/>
                  </a:ext>
                </a:extLst>
              </p:cNvPr>
              <p:cNvSpPr txBox="1"/>
              <p:nvPr/>
            </p:nvSpPr>
            <p:spPr>
              <a:xfrm>
                <a:off x="4030965" y="4476894"/>
                <a:ext cx="1260001" cy="353943"/>
              </a:xfrm>
              <a:prstGeom prst="rect">
                <a:avLst/>
              </a:prstGeom>
              <a:noFill/>
            </p:spPr>
            <p:txBody>
              <a:bodyPr wrap="square" rtlCol="0">
                <a:spAutoFit/>
              </a:bodyPr>
              <a:lstStyle/>
              <a:p>
                <a:pPr algn="ctr"/>
                <a:r>
                  <a:rPr lang="en-US" sz="900" b="1" dirty="0" err="1"/>
                  <a:t>Gleb</a:t>
                </a:r>
                <a:r>
                  <a:rPr lang="en-US" sz="900" b="1" dirty="0"/>
                  <a:t> </a:t>
                </a:r>
                <a:r>
                  <a:rPr lang="en-US" sz="900" b="1" dirty="0" err="1"/>
                  <a:t>Legotkin</a:t>
                </a:r>
                <a:endParaRPr lang="en-US" sz="900" b="1" dirty="0"/>
              </a:p>
              <a:p>
                <a:pPr algn="ctr"/>
                <a:r>
                  <a:rPr lang="en-GB" sz="800" dirty="0"/>
                  <a:t>Head of Data Analysis</a:t>
                </a:r>
              </a:p>
            </p:txBody>
          </p:sp>
          <p:pic>
            <p:nvPicPr>
              <p:cNvPr id="53" name="Picture 18" descr="Linkedin logo - Kostenlose logo Icons">
                <a:hlinkClick r:id="rId2"/>
                <a:extLst>
                  <a:ext uri="{FF2B5EF4-FFF2-40B4-BE49-F238E27FC236}">
                    <a16:creationId xmlns:a16="http://schemas.microsoft.com/office/drawing/2014/main" id="{1F6106C5-CD79-EC41-8A36-A3CAC6BCAE32}"/>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24416" t="1693" r="24416" b="1521"/>
              <a:stretch/>
            </p:blipFill>
            <p:spPr bwMode="auto">
              <a:xfrm>
                <a:off x="4462475" y="4843737"/>
                <a:ext cx="177897" cy="164591"/>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2" descr="Download Mail Icon Vector Png - Email Png PNG Image with No Background -  PNGkey.com">
                <a:hlinkClick r:id="rId4"/>
                <a:extLst>
                  <a:ext uri="{FF2B5EF4-FFF2-40B4-BE49-F238E27FC236}">
                    <a16:creationId xmlns:a16="http://schemas.microsoft.com/office/drawing/2014/main" id="{D11094E7-DC37-2540-B391-631A78B83BB0}"/>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26208" y="4847965"/>
                <a:ext cx="177894" cy="164591"/>
              </a:xfrm>
              <a:prstGeom prst="rect">
                <a:avLst/>
              </a:prstGeom>
              <a:noFill/>
              <a:extLst>
                <a:ext uri="{909E8E84-426E-40DD-AFC4-6F175D3DCCD1}">
                  <a14:hiddenFill xmlns:a14="http://schemas.microsoft.com/office/drawing/2010/main">
                    <a:solidFill>
                      <a:srgbClr val="FFFFFF"/>
                    </a:solidFill>
                  </a14:hiddenFill>
                </a:ext>
              </a:extLst>
            </p:spPr>
          </p:pic>
        </p:grpSp>
        <p:pic>
          <p:nvPicPr>
            <p:cNvPr id="2" name="Picture 1">
              <a:extLst>
                <a:ext uri="{FF2B5EF4-FFF2-40B4-BE49-F238E27FC236}">
                  <a16:creationId xmlns:a16="http://schemas.microsoft.com/office/drawing/2014/main" id="{85EFE3BA-BC0B-AA6D-9DC5-926BD6DF42D7}"/>
                </a:ext>
              </a:extLst>
            </p:cNvPr>
            <p:cNvPicPr>
              <a:picLocks noChangeAspect="1"/>
            </p:cNvPicPr>
            <p:nvPr/>
          </p:nvPicPr>
          <p:blipFill>
            <a:blip r:embed="rId6"/>
            <a:stretch>
              <a:fillRect/>
            </a:stretch>
          </p:blipFill>
          <p:spPr>
            <a:xfrm>
              <a:off x="4162871" y="3400499"/>
              <a:ext cx="1076395" cy="1076395"/>
            </a:xfrm>
            <a:prstGeom prst="ellipse">
              <a:avLst/>
            </a:prstGeom>
          </p:spPr>
        </p:pic>
      </p:grpSp>
      <p:grpSp>
        <p:nvGrpSpPr>
          <p:cNvPr id="26" name="Group 25">
            <a:extLst>
              <a:ext uri="{FF2B5EF4-FFF2-40B4-BE49-F238E27FC236}">
                <a16:creationId xmlns:a16="http://schemas.microsoft.com/office/drawing/2014/main" id="{9C2DDFD1-1391-F09D-7F94-C1F58179DCD4}"/>
              </a:ext>
            </a:extLst>
          </p:cNvPr>
          <p:cNvGrpSpPr/>
          <p:nvPr/>
        </p:nvGrpSpPr>
        <p:grpSpPr>
          <a:xfrm>
            <a:off x="2263243" y="3625109"/>
            <a:ext cx="1260002" cy="1588733"/>
            <a:chOff x="7180669" y="3395373"/>
            <a:chExt cx="1260002" cy="1588733"/>
          </a:xfrm>
        </p:grpSpPr>
        <p:grpSp>
          <p:nvGrpSpPr>
            <p:cNvPr id="17" name="Group 16">
              <a:extLst>
                <a:ext uri="{FF2B5EF4-FFF2-40B4-BE49-F238E27FC236}">
                  <a16:creationId xmlns:a16="http://schemas.microsoft.com/office/drawing/2014/main" id="{A4B67DEA-B58B-73E8-E620-41B7D14D50D0}"/>
                </a:ext>
              </a:extLst>
            </p:cNvPr>
            <p:cNvGrpSpPr/>
            <p:nvPr/>
          </p:nvGrpSpPr>
          <p:grpSpPr>
            <a:xfrm>
              <a:off x="7180669" y="4476008"/>
              <a:ext cx="1260002" cy="508098"/>
              <a:chOff x="7180669" y="4476008"/>
              <a:chExt cx="1260002" cy="508098"/>
            </a:xfrm>
          </p:grpSpPr>
          <p:sp>
            <p:nvSpPr>
              <p:cNvPr id="25" name="TextBox 3">
                <a:extLst>
                  <a:ext uri="{FF2B5EF4-FFF2-40B4-BE49-F238E27FC236}">
                    <a16:creationId xmlns:a16="http://schemas.microsoft.com/office/drawing/2014/main" id="{689464EC-5C7E-5DDD-BF51-D5DB768CC383}"/>
                  </a:ext>
                </a:extLst>
              </p:cNvPr>
              <p:cNvSpPr txBox="1"/>
              <p:nvPr/>
            </p:nvSpPr>
            <p:spPr>
              <a:xfrm>
                <a:off x="7180669" y="4476008"/>
                <a:ext cx="1260002" cy="353944"/>
              </a:xfrm>
              <a:prstGeom prst="rect">
                <a:avLst/>
              </a:prstGeom>
              <a:noFill/>
            </p:spPr>
            <p:txBody>
              <a:bodyPr wrap="square" rtlCol="0">
                <a:spAutoFit/>
              </a:bodyPr>
              <a:lstStyle/>
              <a:p>
                <a:pPr algn="ctr"/>
                <a:r>
                  <a:rPr lang="en-US" sz="900" b="1" dirty="0"/>
                  <a:t>Clara </a:t>
                </a:r>
                <a:r>
                  <a:rPr lang="en-US" sz="900" b="1" dirty="0" err="1"/>
                  <a:t>Carlhammar</a:t>
                </a:r>
                <a:endParaRPr lang="en-US" sz="900" b="1" dirty="0"/>
              </a:p>
              <a:p>
                <a:pPr algn="ctr"/>
                <a:r>
                  <a:rPr lang="en-GB" sz="800" dirty="0"/>
                  <a:t>Head of Events</a:t>
                </a:r>
              </a:p>
            </p:txBody>
          </p:sp>
          <p:pic>
            <p:nvPicPr>
              <p:cNvPr id="28" name="Picture 18" descr="Linkedin logo - Kostenlose logo Icons">
                <a:hlinkClick r:id="rId7"/>
                <a:extLst>
                  <a:ext uri="{FF2B5EF4-FFF2-40B4-BE49-F238E27FC236}">
                    <a16:creationId xmlns:a16="http://schemas.microsoft.com/office/drawing/2014/main" id="{88859851-AD4B-3717-2F1B-FAC371CBDF6E}"/>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24416" t="1693" r="24416" b="1521"/>
              <a:stretch/>
            </p:blipFill>
            <p:spPr bwMode="auto">
              <a:xfrm>
                <a:off x="7602638" y="4819513"/>
                <a:ext cx="177897" cy="16459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2" descr="Download Mail Icon Vector Png - Email Png PNG Image with No Background -  PNGkey.com">
                <a:hlinkClick r:id="rId8"/>
                <a:extLst>
                  <a:ext uri="{FF2B5EF4-FFF2-40B4-BE49-F238E27FC236}">
                    <a16:creationId xmlns:a16="http://schemas.microsoft.com/office/drawing/2014/main" id="{E70F941F-200B-EEA2-8D01-A737F3BE692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866863" y="4819513"/>
                <a:ext cx="177896" cy="164593"/>
              </a:xfrm>
              <a:prstGeom prst="rect">
                <a:avLst/>
              </a:prstGeom>
              <a:noFill/>
              <a:extLst>
                <a:ext uri="{909E8E84-426E-40DD-AFC4-6F175D3DCCD1}">
                  <a14:hiddenFill xmlns:a14="http://schemas.microsoft.com/office/drawing/2010/main">
                    <a:solidFill>
                      <a:srgbClr val="FFFFFF"/>
                    </a:solidFill>
                  </a14:hiddenFill>
                </a:ext>
              </a:extLst>
            </p:spPr>
          </p:pic>
        </p:grpSp>
        <p:pic>
          <p:nvPicPr>
            <p:cNvPr id="3" name="Picture 2">
              <a:extLst>
                <a:ext uri="{FF2B5EF4-FFF2-40B4-BE49-F238E27FC236}">
                  <a16:creationId xmlns:a16="http://schemas.microsoft.com/office/drawing/2014/main" id="{D5C72838-5D24-1DB5-5AD5-CFE197E26D36}"/>
                </a:ext>
              </a:extLst>
            </p:cNvPr>
            <p:cNvPicPr>
              <a:picLocks noChangeAspect="1"/>
            </p:cNvPicPr>
            <p:nvPr/>
          </p:nvPicPr>
          <p:blipFill>
            <a:blip r:embed="rId9"/>
            <a:stretch>
              <a:fillRect/>
            </a:stretch>
          </p:blipFill>
          <p:spPr>
            <a:xfrm>
              <a:off x="7283693" y="3395373"/>
              <a:ext cx="1076395" cy="1076395"/>
            </a:xfrm>
            <a:prstGeom prst="ellipse">
              <a:avLst/>
            </a:prstGeom>
          </p:spPr>
        </p:pic>
      </p:grpSp>
      <p:grpSp>
        <p:nvGrpSpPr>
          <p:cNvPr id="12" name="Group 11">
            <a:extLst>
              <a:ext uri="{FF2B5EF4-FFF2-40B4-BE49-F238E27FC236}">
                <a16:creationId xmlns:a16="http://schemas.microsoft.com/office/drawing/2014/main" id="{12399552-2894-5119-8795-A734DB959429}"/>
              </a:ext>
            </a:extLst>
          </p:cNvPr>
          <p:cNvGrpSpPr/>
          <p:nvPr/>
        </p:nvGrpSpPr>
        <p:grpSpPr>
          <a:xfrm>
            <a:off x="3736345" y="1777189"/>
            <a:ext cx="1260001" cy="1717844"/>
            <a:chOff x="3006789" y="1840632"/>
            <a:chExt cx="1260001" cy="1717844"/>
          </a:xfrm>
        </p:grpSpPr>
        <p:grpSp>
          <p:nvGrpSpPr>
            <p:cNvPr id="94" name="Gruppo 93">
              <a:extLst>
                <a:ext uri="{FF2B5EF4-FFF2-40B4-BE49-F238E27FC236}">
                  <a16:creationId xmlns:a16="http://schemas.microsoft.com/office/drawing/2014/main" id="{653A6105-0F44-5941-90F3-556483883459}"/>
                </a:ext>
              </a:extLst>
            </p:cNvPr>
            <p:cNvGrpSpPr/>
            <p:nvPr/>
          </p:nvGrpSpPr>
          <p:grpSpPr>
            <a:xfrm>
              <a:off x="3006789" y="2935143"/>
              <a:ext cx="1260001" cy="623333"/>
              <a:chOff x="-725729" y="2983626"/>
              <a:chExt cx="1308311" cy="649337"/>
            </a:xfrm>
          </p:grpSpPr>
          <p:grpSp>
            <p:nvGrpSpPr>
              <p:cNvPr id="95" name="Gruppo 5">
                <a:extLst>
                  <a:ext uri="{FF2B5EF4-FFF2-40B4-BE49-F238E27FC236}">
                    <a16:creationId xmlns:a16="http://schemas.microsoft.com/office/drawing/2014/main" id="{F7986F62-5DFA-5D4C-BB9B-C9DC8E4CFD2F}"/>
                  </a:ext>
                </a:extLst>
              </p:cNvPr>
              <p:cNvGrpSpPr/>
              <p:nvPr/>
            </p:nvGrpSpPr>
            <p:grpSpPr>
              <a:xfrm>
                <a:off x="-314206" y="3460482"/>
                <a:ext cx="448394" cy="172481"/>
                <a:chOff x="-2067685" y="1434632"/>
                <a:chExt cx="660782" cy="271939"/>
              </a:xfrm>
            </p:grpSpPr>
            <p:pic>
              <p:nvPicPr>
                <p:cNvPr id="99" name="Picture 18" descr="Linkedin logo - Kostenlose logo Icons">
                  <a:hlinkClick r:id="rId10"/>
                  <a:extLst>
                    <a:ext uri="{FF2B5EF4-FFF2-40B4-BE49-F238E27FC236}">
                      <a16:creationId xmlns:a16="http://schemas.microsoft.com/office/drawing/2014/main" id="{2BF04007-1093-5C4B-805D-1922970D0E15}"/>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24416" t="1693" r="24416" b="1521"/>
                <a:stretch/>
              </p:blipFill>
              <p:spPr bwMode="auto">
                <a:xfrm>
                  <a:off x="-2067685" y="1434632"/>
                  <a:ext cx="272210" cy="270324"/>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22" descr="Download Mail Icon Vector Png - Email Png PNG Image with No Background -  PNGkey.com">
                  <a:hlinkClick r:id="rId11"/>
                  <a:extLst>
                    <a:ext uri="{FF2B5EF4-FFF2-40B4-BE49-F238E27FC236}">
                      <a16:creationId xmlns:a16="http://schemas.microsoft.com/office/drawing/2014/main" id="{B4844501-3346-3241-95DD-B4DBC524050E}"/>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679113" y="1436241"/>
                  <a:ext cx="272210" cy="270330"/>
                </a:xfrm>
                <a:prstGeom prst="rect">
                  <a:avLst/>
                </a:prstGeom>
                <a:noFill/>
                <a:extLst>
                  <a:ext uri="{909E8E84-426E-40DD-AFC4-6F175D3DCCD1}">
                    <a14:hiddenFill xmlns:a14="http://schemas.microsoft.com/office/drawing/2010/main">
                      <a:solidFill>
                        <a:srgbClr val="FFFFFF"/>
                      </a:solidFill>
                    </a14:hiddenFill>
                  </a:ext>
                </a:extLst>
              </p:spPr>
            </p:pic>
          </p:grpSp>
          <p:sp>
            <p:nvSpPr>
              <p:cNvPr id="98" name="TextBox 63">
                <a:extLst>
                  <a:ext uri="{FF2B5EF4-FFF2-40B4-BE49-F238E27FC236}">
                    <a16:creationId xmlns:a16="http://schemas.microsoft.com/office/drawing/2014/main" id="{976C179A-5B61-C843-A2B0-8BB561DDA810}"/>
                  </a:ext>
                </a:extLst>
              </p:cNvPr>
              <p:cNvSpPr txBox="1"/>
              <p:nvPr/>
            </p:nvSpPr>
            <p:spPr>
              <a:xfrm>
                <a:off x="-725729" y="2983626"/>
                <a:ext cx="1308311" cy="496955"/>
              </a:xfrm>
              <a:prstGeom prst="rect">
                <a:avLst/>
              </a:prstGeom>
              <a:noFill/>
            </p:spPr>
            <p:txBody>
              <a:bodyPr wrap="square" rtlCol="0">
                <a:spAutoFit/>
              </a:bodyPr>
              <a:lstStyle/>
              <a:p>
                <a:pPr algn="ctr"/>
                <a:r>
                  <a:rPr lang="en-US" sz="900" b="1" dirty="0"/>
                  <a:t>Guillaume </a:t>
                </a:r>
                <a:r>
                  <a:rPr lang="en-US" sz="900" b="1" dirty="0" err="1"/>
                  <a:t>Abaz</a:t>
                </a:r>
                <a:endParaRPr lang="en-US" sz="900" b="1" dirty="0"/>
              </a:p>
              <a:p>
                <a:pPr algn="ctr"/>
                <a:r>
                  <a:rPr lang="en-GB" sz="800" b="1" dirty="0">
                    <a:solidFill>
                      <a:schemeClr val="bg1"/>
                    </a:solidFill>
                  </a:rPr>
                  <a:t>President</a:t>
                </a:r>
                <a:r>
                  <a:rPr lang="en-GB" sz="800" dirty="0"/>
                  <a:t>, Head of Public Relations</a:t>
                </a:r>
              </a:p>
            </p:txBody>
          </p:sp>
        </p:grpSp>
        <p:pic>
          <p:nvPicPr>
            <p:cNvPr id="4" name="Picture 3">
              <a:extLst>
                <a:ext uri="{FF2B5EF4-FFF2-40B4-BE49-F238E27FC236}">
                  <a16:creationId xmlns:a16="http://schemas.microsoft.com/office/drawing/2014/main" id="{C399A179-BDE1-C653-1B81-66A0E55EC24B}"/>
                </a:ext>
              </a:extLst>
            </p:cNvPr>
            <p:cNvPicPr>
              <a:picLocks noChangeAspect="1"/>
            </p:cNvPicPr>
            <p:nvPr/>
          </p:nvPicPr>
          <p:blipFill>
            <a:blip r:embed="rId12"/>
            <a:stretch>
              <a:fillRect/>
            </a:stretch>
          </p:blipFill>
          <p:spPr>
            <a:xfrm>
              <a:off x="3077137" y="1840632"/>
              <a:ext cx="1112251" cy="1112251"/>
            </a:xfrm>
            <a:prstGeom prst="ellipse">
              <a:avLst/>
            </a:prstGeom>
          </p:spPr>
        </p:pic>
      </p:grpSp>
      <p:grpSp>
        <p:nvGrpSpPr>
          <p:cNvPr id="11" name="Group 10">
            <a:extLst>
              <a:ext uri="{FF2B5EF4-FFF2-40B4-BE49-F238E27FC236}">
                <a16:creationId xmlns:a16="http://schemas.microsoft.com/office/drawing/2014/main" id="{E1B3CF18-5D7C-3BB6-72F6-3FF479815D6F}"/>
              </a:ext>
            </a:extLst>
          </p:cNvPr>
          <p:cNvGrpSpPr/>
          <p:nvPr/>
        </p:nvGrpSpPr>
        <p:grpSpPr>
          <a:xfrm>
            <a:off x="2218385" y="1762373"/>
            <a:ext cx="1260001" cy="1721309"/>
            <a:chOff x="4877294" y="1746822"/>
            <a:chExt cx="1260001" cy="1721309"/>
          </a:xfrm>
        </p:grpSpPr>
        <p:sp>
          <p:nvSpPr>
            <p:cNvPr id="128" name="TextBox 63">
              <a:extLst>
                <a:ext uri="{FF2B5EF4-FFF2-40B4-BE49-F238E27FC236}">
                  <a16:creationId xmlns:a16="http://schemas.microsoft.com/office/drawing/2014/main" id="{A3332197-161A-6B45-AAA8-1A9A2BE4E33F}"/>
                </a:ext>
              </a:extLst>
            </p:cNvPr>
            <p:cNvSpPr txBox="1"/>
            <p:nvPr/>
          </p:nvSpPr>
          <p:spPr>
            <a:xfrm>
              <a:off x="4877294" y="2859073"/>
              <a:ext cx="1260001" cy="477054"/>
            </a:xfrm>
            <a:prstGeom prst="rect">
              <a:avLst/>
            </a:prstGeom>
            <a:noFill/>
          </p:spPr>
          <p:txBody>
            <a:bodyPr wrap="square" rtlCol="0">
              <a:spAutoFit/>
            </a:bodyPr>
            <a:lstStyle/>
            <a:p>
              <a:pPr algn="ctr"/>
              <a:r>
                <a:rPr lang="en-US" sz="900" b="1" dirty="0"/>
                <a:t>Michelangelo Mauro</a:t>
              </a:r>
            </a:p>
            <a:p>
              <a:pPr algn="ctr"/>
              <a:r>
                <a:rPr lang="en-GB" sz="800" b="1" dirty="0">
                  <a:solidFill>
                    <a:schemeClr val="bg1"/>
                  </a:solidFill>
                </a:rPr>
                <a:t>Vice-President</a:t>
              </a:r>
              <a:r>
                <a:rPr lang="en-GB" sz="800" dirty="0"/>
                <a:t>, Head of Generalist</a:t>
              </a:r>
            </a:p>
          </p:txBody>
        </p:sp>
        <p:pic>
          <p:nvPicPr>
            <p:cNvPr id="47" name="Picture 18" descr="Linkedin logo - Kostenlose logo Icons">
              <a:hlinkClick r:id="rId13"/>
              <a:extLst>
                <a:ext uri="{FF2B5EF4-FFF2-40B4-BE49-F238E27FC236}">
                  <a16:creationId xmlns:a16="http://schemas.microsoft.com/office/drawing/2014/main" id="{6B8829A0-3A68-FB49-AA5E-BC79CD2AE681}"/>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24416" t="1693" r="24416" b="1521"/>
            <a:stretch/>
          </p:blipFill>
          <p:spPr bwMode="auto">
            <a:xfrm>
              <a:off x="5261020" y="3283982"/>
              <a:ext cx="199036" cy="184149"/>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2" descr="Download Mail Icon Vector Png - Email Png PNG Image with No Background -  PNGkey.com">
              <a:hlinkClick r:id="rId14"/>
              <a:extLst>
                <a:ext uri="{FF2B5EF4-FFF2-40B4-BE49-F238E27FC236}">
                  <a16:creationId xmlns:a16="http://schemas.microsoft.com/office/drawing/2014/main" id="{DE0A30AB-5FB5-694A-A7D7-87D0D89D65CA}"/>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543238" y="3291975"/>
              <a:ext cx="177896" cy="1645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A3A0BBE7-3125-8409-9EE1-DBEB0814259D}"/>
                </a:ext>
              </a:extLst>
            </p:cNvPr>
            <p:cNvPicPr>
              <a:picLocks noChangeAspect="1"/>
            </p:cNvPicPr>
            <p:nvPr/>
          </p:nvPicPr>
          <p:blipFill>
            <a:blip r:embed="rId15"/>
            <a:stretch>
              <a:fillRect/>
            </a:stretch>
          </p:blipFill>
          <p:spPr>
            <a:xfrm>
              <a:off x="4972998" y="1746822"/>
              <a:ext cx="1112251" cy="1112251"/>
            </a:xfrm>
            <a:prstGeom prst="ellipse">
              <a:avLst/>
            </a:prstGeom>
          </p:spPr>
        </p:pic>
      </p:grpSp>
      <p:grpSp>
        <p:nvGrpSpPr>
          <p:cNvPr id="10" name="Group 9">
            <a:extLst>
              <a:ext uri="{FF2B5EF4-FFF2-40B4-BE49-F238E27FC236}">
                <a16:creationId xmlns:a16="http://schemas.microsoft.com/office/drawing/2014/main" id="{1223B696-2BCE-C907-1943-0E371055D92D}"/>
              </a:ext>
            </a:extLst>
          </p:cNvPr>
          <p:cNvGrpSpPr/>
          <p:nvPr/>
        </p:nvGrpSpPr>
        <p:grpSpPr>
          <a:xfrm>
            <a:off x="5154494" y="1772403"/>
            <a:ext cx="1260001" cy="1636267"/>
            <a:chOff x="724681" y="3356596"/>
            <a:chExt cx="1260001" cy="1636267"/>
          </a:xfrm>
        </p:grpSpPr>
        <p:pic>
          <p:nvPicPr>
            <p:cNvPr id="7" name="Picture 6">
              <a:extLst>
                <a:ext uri="{FF2B5EF4-FFF2-40B4-BE49-F238E27FC236}">
                  <a16:creationId xmlns:a16="http://schemas.microsoft.com/office/drawing/2014/main" id="{5B7B7035-DF0F-3FEA-8BDA-4391DB6D7D1A}"/>
                </a:ext>
              </a:extLst>
            </p:cNvPr>
            <p:cNvPicPr>
              <a:picLocks noChangeAspect="1"/>
            </p:cNvPicPr>
            <p:nvPr/>
          </p:nvPicPr>
          <p:blipFill>
            <a:blip r:embed="rId16"/>
            <a:stretch>
              <a:fillRect/>
            </a:stretch>
          </p:blipFill>
          <p:spPr>
            <a:xfrm>
              <a:off x="803932" y="3356596"/>
              <a:ext cx="1155532" cy="1155532"/>
            </a:xfrm>
            <a:prstGeom prst="ellipse">
              <a:avLst/>
            </a:prstGeom>
          </p:spPr>
        </p:pic>
        <p:grpSp>
          <p:nvGrpSpPr>
            <p:cNvPr id="9" name="Group 8">
              <a:extLst>
                <a:ext uri="{FF2B5EF4-FFF2-40B4-BE49-F238E27FC236}">
                  <a16:creationId xmlns:a16="http://schemas.microsoft.com/office/drawing/2014/main" id="{4DFEE078-79F8-8217-4DAB-EDE84BB11744}"/>
                </a:ext>
              </a:extLst>
            </p:cNvPr>
            <p:cNvGrpSpPr/>
            <p:nvPr/>
          </p:nvGrpSpPr>
          <p:grpSpPr>
            <a:xfrm>
              <a:off x="724681" y="4490711"/>
              <a:ext cx="1260001" cy="502152"/>
              <a:chOff x="724681" y="4490711"/>
              <a:chExt cx="1260001" cy="502152"/>
            </a:xfrm>
          </p:grpSpPr>
          <p:pic>
            <p:nvPicPr>
              <p:cNvPr id="49" name="Picture 18" descr="Linkedin logo - Kostenlose logo Icons">
                <a:hlinkClick r:id="rId17"/>
                <a:extLst>
                  <a:ext uri="{FF2B5EF4-FFF2-40B4-BE49-F238E27FC236}">
                    <a16:creationId xmlns:a16="http://schemas.microsoft.com/office/drawing/2014/main" id="{B19A0C60-BF8D-A743-A369-E4BB7EAD2E19}"/>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24416" t="1693" r="24416" b="1521"/>
              <a:stretch/>
            </p:blipFill>
            <p:spPr bwMode="auto">
              <a:xfrm>
                <a:off x="1094455" y="4828272"/>
                <a:ext cx="177897" cy="16459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2" descr="Download Mail Icon Vector Png - Email Png PNG Image with No Background -  PNGkey.com">
                <a:hlinkClick r:id="rId18"/>
                <a:extLst>
                  <a:ext uri="{FF2B5EF4-FFF2-40B4-BE49-F238E27FC236}">
                    <a16:creationId xmlns:a16="http://schemas.microsoft.com/office/drawing/2014/main" id="{2B2221AD-E5D3-0F4C-9559-1691B9F545B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381295" y="4817228"/>
                <a:ext cx="177896" cy="16459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3">
                <a:extLst>
                  <a:ext uri="{FF2B5EF4-FFF2-40B4-BE49-F238E27FC236}">
                    <a16:creationId xmlns:a16="http://schemas.microsoft.com/office/drawing/2014/main" id="{D645C3AB-40BF-7554-3C51-4845F3007F90}"/>
                  </a:ext>
                </a:extLst>
              </p:cNvPr>
              <p:cNvSpPr txBox="1"/>
              <p:nvPr/>
            </p:nvSpPr>
            <p:spPr>
              <a:xfrm>
                <a:off x="724681" y="4490711"/>
                <a:ext cx="1260001" cy="353942"/>
              </a:xfrm>
              <a:prstGeom prst="rect">
                <a:avLst/>
              </a:prstGeom>
              <a:noFill/>
            </p:spPr>
            <p:txBody>
              <a:bodyPr wrap="square" rtlCol="0">
                <a:spAutoFit/>
              </a:bodyPr>
              <a:lstStyle/>
              <a:p>
                <a:pPr algn="ctr"/>
                <a:r>
                  <a:rPr lang="en-US" sz="900" b="1" dirty="0"/>
                  <a:t>Catharina </a:t>
                </a:r>
                <a:r>
                  <a:rPr lang="en-US" sz="900" b="1" dirty="0" err="1"/>
                  <a:t>Gärtner</a:t>
                </a:r>
                <a:endParaRPr lang="en-US" sz="900" b="1" dirty="0"/>
              </a:p>
              <a:p>
                <a:pPr algn="ctr"/>
                <a:r>
                  <a:rPr lang="en-GB" sz="800" dirty="0"/>
                  <a:t>Head of M&amp;A</a:t>
                </a:r>
              </a:p>
            </p:txBody>
          </p:sp>
        </p:grpSp>
      </p:grpSp>
      <p:grpSp>
        <p:nvGrpSpPr>
          <p:cNvPr id="23" name="Group 22">
            <a:extLst>
              <a:ext uri="{FF2B5EF4-FFF2-40B4-BE49-F238E27FC236}">
                <a16:creationId xmlns:a16="http://schemas.microsoft.com/office/drawing/2014/main" id="{7A9817F8-5297-EA0C-F10D-839DC739C897}"/>
              </a:ext>
            </a:extLst>
          </p:cNvPr>
          <p:cNvGrpSpPr/>
          <p:nvPr/>
        </p:nvGrpSpPr>
        <p:grpSpPr>
          <a:xfrm>
            <a:off x="5122823" y="3625109"/>
            <a:ext cx="1260002" cy="1601450"/>
            <a:chOff x="5600648" y="3384707"/>
            <a:chExt cx="1260002" cy="1601450"/>
          </a:xfrm>
        </p:grpSpPr>
        <p:grpSp>
          <p:nvGrpSpPr>
            <p:cNvPr id="21" name="Group 20">
              <a:extLst>
                <a:ext uri="{FF2B5EF4-FFF2-40B4-BE49-F238E27FC236}">
                  <a16:creationId xmlns:a16="http://schemas.microsoft.com/office/drawing/2014/main" id="{589CA878-3A47-8BDB-FDE6-5255D0EEB4E6}"/>
                </a:ext>
              </a:extLst>
            </p:cNvPr>
            <p:cNvGrpSpPr/>
            <p:nvPr/>
          </p:nvGrpSpPr>
          <p:grpSpPr>
            <a:xfrm>
              <a:off x="5600648" y="4461102"/>
              <a:ext cx="1260002" cy="525055"/>
              <a:chOff x="5600648" y="4461102"/>
              <a:chExt cx="1260002" cy="525055"/>
            </a:xfrm>
          </p:grpSpPr>
          <p:sp>
            <p:nvSpPr>
              <p:cNvPr id="88" name="TextBox 3">
                <a:extLst>
                  <a:ext uri="{FF2B5EF4-FFF2-40B4-BE49-F238E27FC236}">
                    <a16:creationId xmlns:a16="http://schemas.microsoft.com/office/drawing/2014/main" id="{FB4F9DD4-6100-154F-93A4-393B266A6FAC}"/>
                  </a:ext>
                </a:extLst>
              </p:cNvPr>
              <p:cNvSpPr txBox="1"/>
              <p:nvPr/>
            </p:nvSpPr>
            <p:spPr>
              <a:xfrm>
                <a:off x="5600648" y="4461102"/>
                <a:ext cx="1260002" cy="353943"/>
              </a:xfrm>
              <a:prstGeom prst="rect">
                <a:avLst/>
              </a:prstGeom>
              <a:noFill/>
            </p:spPr>
            <p:txBody>
              <a:bodyPr wrap="square" rtlCol="0">
                <a:spAutoFit/>
              </a:bodyPr>
              <a:lstStyle/>
              <a:p>
                <a:pPr algn="ctr"/>
                <a:r>
                  <a:rPr lang="en-US" sz="900" b="1" dirty="0"/>
                  <a:t>Matteo </a:t>
                </a:r>
                <a:r>
                  <a:rPr lang="en-US" sz="900" b="1" dirty="0" err="1"/>
                  <a:t>Nesiti</a:t>
                </a:r>
                <a:endParaRPr lang="en-US" sz="900" b="1" dirty="0"/>
              </a:p>
              <a:p>
                <a:pPr algn="ctr"/>
                <a:r>
                  <a:rPr lang="en-GB" sz="800" dirty="0"/>
                  <a:t>Head of Operations</a:t>
                </a:r>
              </a:p>
            </p:txBody>
          </p:sp>
          <p:pic>
            <p:nvPicPr>
              <p:cNvPr id="55" name="Picture 18" descr="Linkedin logo - Kostenlose logo Icons">
                <a:hlinkClick r:id="rId7"/>
                <a:extLst>
                  <a:ext uri="{FF2B5EF4-FFF2-40B4-BE49-F238E27FC236}">
                    <a16:creationId xmlns:a16="http://schemas.microsoft.com/office/drawing/2014/main" id="{C2E15EDF-5E50-3B41-BC43-BBEEAF0502D8}"/>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24416" t="1693" r="24416" b="1521"/>
              <a:stretch/>
            </p:blipFill>
            <p:spPr bwMode="auto">
              <a:xfrm>
                <a:off x="6024732" y="4821566"/>
                <a:ext cx="177897" cy="164591"/>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2" descr="Download Mail Icon Vector Png - Email Png PNG Image with No Background -  PNGkey.com">
                <a:hlinkClick r:id="rId8"/>
                <a:extLst>
                  <a:ext uri="{FF2B5EF4-FFF2-40B4-BE49-F238E27FC236}">
                    <a16:creationId xmlns:a16="http://schemas.microsoft.com/office/drawing/2014/main" id="{C09D99A8-BD62-9F4A-88F9-FA2A5C9161D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262321" y="4821564"/>
                <a:ext cx="177896" cy="164593"/>
              </a:xfrm>
              <a:prstGeom prst="rect">
                <a:avLst/>
              </a:prstGeom>
              <a:noFill/>
              <a:extLst>
                <a:ext uri="{909E8E84-426E-40DD-AFC4-6F175D3DCCD1}">
                  <a14:hiddenFill xmlns:a14="http://schemas.microsoft.com/office/drawing/2010/main">
                    <a:solidFill>
                      <a:srgbClr val="FFFFFF"/>
                    </a:solidFill>
                  </a14:hiddenFill>
                </a:ext>
              </a:extLst>
            </p:spPr>
          </p:pic>
        </p:grpSp>
        <p:pic>
          <p:nvPicPr>
            <p:cNvPr id="19" name="Picture 18">
              <a:extLst>
                <a:ext uri="{FF2B5EF4-FFF2-40B4-BE49-F238E27FC236}">
                  <a16:creationId xmlns:a16="http://schemas.microsoft.com/office/drawing/2014/main" id="{56C4353A-6778-8238-6427-762E1E2CC6BB}"/>
                </a:ext>
              </a:extLst>
            </p:cNvPr>
            <p:cNvPicPr>
              <a:picLocks noChangeAspect="1"/>
            </p:cNvPicPr>
            <p:nvPr/>
          </p:nvPicPr>
          <p:blipFill>
            <a:blip r:embed="rId19"/>
            <a:stretch>
              <a:fillRect/>
            </a:stretch>
          </p:blipFill>
          <p:spPr>
            <a:xfrm>
              <a:off x="5724123" y="3384707"/>
              <a:ext cx="1076395" cy="1076395"/>
            </a:xfrm>
            <a:prstGeom prst="ellipse">
              <a:avLst/>
            </a:prstGeom>
          </p:spPr>
        </p:pic>
      </p:grpSp>
      <p:sp>
        <p:nvSpPr>
          <p:cNvPr id="14" name="Date Placeholder 3">
            <a:extLst>
              <a:ext uri="{FF2B5EF4-FFF2-40B4-BE49-F238E27FC236}">
                <a16:creationId xmlns:a16="http://schemas.microsoft.com/office/drawing/2014/main" id="{52551DD4-8E4B-9B78-955F-F5B1C7FD8EC3}"/>
              </a:ext>
            </a:extLst>
          </p:cNvPr>
          <p:cNvSpPr txBox="1">
            <a:spLocks/>
          </p:cNvSpPr>
          <p:nvPr/>
        </p:nvSpPr>
        <p:spPr>
          <a:xfrm>
            <a:off x="357680" y="6356351"/>
            <a:ext cx="20574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Arial" panose="020B0604020202020204" pitchFamily="34" charset="0"/>
                <a:cs typeface="Arial" panose="020B0604020202020204" pitchFamily="34" charset="0"/>
              </a:rPr>
              <a:t>November 20, 2024</a:t>
            </a:r>
          </a:p>
        </p:txBody>
      </p:sp>
    </p:spTree>
    <p:extLst>
      <p:ext uri="{BB962C8B-B14F-4D97-AF65-F5344CB8AC3E}">
        <p14:creationId xmlns:p14="http://schemas.microsoft.com/office/powerpoint/2010/main" val="16557404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39B1CF-E3A4-4AB5-9018-6A01E5DAD86F}"/>
              </a:ext>
            </a:extLst>
          </p:cNvPr>
          <p:cNvSpPr>
            <a:spLocks noGrp="1"/>
          </p:cNvSpPr>
          <p:nvPr>
            <p:ph type="title"/>
          </p:nvPr>
        </p:nvSpPr>
        <p:spPr/>
        <p:txBody>
          <a:bodyPr/>
          <a:lstStyle/>
          <a:p>
            <a:r>
              <a:rPr lang="en-US" dirty="0"/>
              <a:t>What we do</a:t>
            </a:r>
          </a:p>
        </p:txBody>
      </p:sp>
      <p:sp>
        <p:nvSpPr>
          <p:cNvPr id="4" name="Slide Number Placeholder 3">
            <a:extLst>
              <a:ext uri="{FF2B5EF4-FFF2-40B4-BE49-F238E27FC236}">
                <a16:creationId xmlns:a16="http://schemas.microsoft.com/office/drawing/2014/main" id="{75CFC5E2-BB19-4655-864C-75A077279EDB}"/>
              </a:ext>
            </a:extLst>
          </p:cNvPr>
          <p:cNvSpPr>
            <a:spLocks noGrp="1"/>
          </p:cNvSpPr>
          <p:nvPr>
            <p:ph type="sldNum" sz="quarter" idx="12"/>
          </p:nvPr>
        </p:nvSpPr>
        <p:spPr/>
        <p:txBody>
          <a:bodyPr/>
          <a:lstStyle/>
          <a:p>
            <a:fld id="{330EA680-D336-4FF7-8B7A-9848BB0A1C32}" type="slidenum">
              <a:rPr lang="en-US" smtClean="0"/>
              <a:t>4</a:t>
            </a:fld>
            <a:endParaRPr lang="en-US"/>
          </a:p>
        </p:txBody>
      </p:sp>
      <p:sp>
        <p:nvSpPr>
          <p:cNvPr id="5" name="Text Placeholder 4">
            <a:extLst>
              <a:ext uri="{FF2B5EF4-FFF2-40B4-BE49-F238E27FC236}">
                <a16:creationId xmlns:a16="http://schemas.microsoft.com/office/drawing/2014/main" id="{1EECFE0C-D8A2-452B-ADAF-B20151A7C604}"/>
              </a:ext>
            </a:extLst>
          </p:cNvPr>
          <p:cNvSpPr>
            <a:spLocks noGrp="1"/>
          </p:cNvSpPr>
          <p:nvPr>
            <p:ph type="body" sz="quarter" idx="13"/>
          </p:nvPr>
        </p:nvSpPr>
        <p:spPr/>
        <p:txBody>
          <a:bodyPr/>
          <a:lstStyle/>
          <a:p>
            <a:endParaRPr lang="en-CH"/>
          </a:p>
        </p:txBody>
      </p:sp>
      <p:sp>
        <p:nvSpPr>
          <p:cNvPr id="8" name="Content Placeholder 2">
            <a:extLst>
              <a:ext uri="{FF2B5EF4-FFF2-40B4-BE49-F238E27FC236}">
                <a16:creationId xmlns:a16="http://schemas.microsoft.com/office/drawing/2014/main" id="{4F2E5787-FFB7-634C-8B79-A1358CD24F3E}"/>
              </a:ext>
            </a:extLst>
          </p:cNvPr>
          <p:cNvSpPr txBox="1">
            <a:spLocks/>
          </p:cNvSpPr>
          <p:nvPr/>
        </p:nvSpPr>
        <p:spPr>
          <a:xfrm>
            <a:off x="356695" y="1412834"/>
            <a:ext cx="8429625" cy="42545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4"/>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500" b="1" i="0" u="none" strike="noStrike" dirty="0">
                <a:solidFill>
                  <a:schemeClr val="tx2"/>
                </a:solidFill>
                <a:effectLst/>
              </a:rPr>
              <a:t>We explore emerging fintech topics through various channels.</a:t>
            </a:r>
            <a:endParaRPr lang="en-US" sz="1500" b="1" dirty="0">
              <a:solidFill>
                <a:schemeClr val="tx2"/>
              </a:solidFill>
            </a:endParaRPr>
          </a:p>
        </p:txBody>
      </p:sp>
      <p:grpSp>
        <p:nvGrpSpPr>
          <p:cNvPr id="7" name="Group 6">
            <a:extLst>
              <a:ext uri="{FF2B5EF4-FFF2-40B4-BE49-F238E27FC236}">
                <a16:creationId xmlns:a16="http://schemas.microsoft.com/office/drawing/2014/main" id="{119DF69E-BE80-9E9E-F738-8A0709F55137}"/>
              </a:ext>
            </a:extLst>
          </p:cNvPr>
          <p:cNvGrpSpPr/>
          <p:nvPr/>
        </p:nvGrpSpPr>
        <p:grpSpPr>
          <a:xfrm>
            <a:off x="1084855" y="1958182"/>
            <a:ext cx="1980000" cy="3250318"/>
            <a:chOff x="404925" y="1943731"/>
            <a:chExt cx="1980000" cy="3250318"/>
          </a:xfrm>
        </p:grpSpPr>
        <p:sp>
          <p:nvSpPr>
            <p:cNvPr id="6" name="Rettangolo con angoli arrotondati 5">
              <a:extLst>
                <a:ext uri="{FF2B5EF4-FFF2-40B4-BE49-F238E27FC236}">
                  <a16:creationId xmlns:a16="http://schemas.microsoft.com/office/drawing/2014/main" id="{D25F9401-053D-354D-BB5C-7184E9F380A9}"/>
                </a:ext>
              </a:extLst>
            </p:cNvPr>
            <p:cNvSpPr/>
            <p:nvPr/>
          </p:nvSpPr>
          <p:spPr>
            <a:xfrm>
              <a:off x="404925" y="1943731"/>
              <a:ext cx="1980000" cy="3250318"/>
            </a:xfrm>
            <a:prstGeom prst="roundRect">
              <a:avLst/>
            </a:prstGeom>
            <a:ln>
              <a:solidFill>
                <a:schemeClr val="tx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CasellaDiTesto 14">
              <a:extLst>
                <a:ext uri="{FF2B5EF4-FFF2-40B4-BE49-F238E27FC236}">
                  <a16:creationId xmlns:a16="http://schemas.microsoft.com/office/drawing/2014/main" id="{F7DCF119-3490-A041-8BC3-EA1CC28BFEDB}"/>
                </a:ext>
              </a:extLst>
            </p:cNvPr>
            <p:cNvSpPr txBox="1"/>
            <p:nvPr/>
          </p:nvSpPr>
          <p:spPr>
            <a:xfrm>
              <a:off x="961423" y="1976150"/>
              <a:ext cx="849913" cy="246221"/>
            </a:xfrm>
            <a:prstGeom prst="rect">
              <a:avLst/>
            </a:prstGeom>
            <a:noFill/>
          </p:spPr>
          <p:txBody>
            <a:bodyPr wrap="none" rtlCol="0">
              <a:spAutoFit/>
            </a:bodyPr>
            <a:lstStyle/>
            <a:p>
              <a:r>
                <a:rPr lang="en-US" sz="1000" b="1">
                  <a:solidFill>
                    <a:schemeClr val="tx2">
                      <a:lumMod val="50000"/>
                    </a:schemeClr>
                  </a:solidFill>
                  <a:latin typeface="Arial" panose="020B0604020202020204" pitchFamily="34" charset="0"/>
                  <a:cs typeface="Arial" panose="020B0604020202020204" pitchFamily="34" charset="0"/>
                </a:rPr>
                <a:t>Slides sets</a:t>
              </a:r>
            </a:p>
          </p:txBody>
        </p:sp>
        <p:pic>
          <p:nvPicPr>
            <p:cNvPr id="18" name="Immagine 17">
              <a:extLst>
                <a:ext uri="{FF2B5EF4-FFF2-40B4-BE49-F238E27FC236}">
                  <a16:creationId xmlns:a16="http://schemas.microsoft.com/office/drawing/2014/main" id="{D6C790C8-A410-AE46-BF7F-3EBCAE988C2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13276" y="3401554"/>
              <a:ext cx="1584000" cy="1584000"/>
            </a:xfrm>
            <a:prstGeom prst="roundRect">
              <a:avLst/>
            </a:prstGeom>
            <a:effectLst>
              <a:outerShdw blurRad="50800" dist="38100" dir="2700000" algn="tl" rotWithShape="0">
                <a:prstClr val="black">
                  <a:alpha val="40000"/>
                </a:prstClr>
              </a:outerShdw>
            </a:effectLst>
          </p:spPr>
        </p:pic>
        <p:sp>
          <p:nvSpPr>
            <p:cNvPr id="24" name="CasellaDiTesto 23">
              <a:extLst>
                <a:ext uri="{FF2B5EF4-FFF2-40B4-BE49-F238E27FC236}">
                  <a16:creationId xmlns:a16="http://schemas.microsoft.com/office/drawing/2014/main" id="{10E6F032-8096-844F-BAD2-E725562A6E0C}"/>
                </a:ext>
              </a:extLst>
            </p:cNvPr>
            <p:cNvSpPr txBox="1"/>
            <p:nvPr/>
          </p:nvSpPr>
          <p:spPr>
            <a:xfrm>
              <a:off x="598805" y="2254790"/>
              <a:ext cx="1612943" cy="1169551"/>
            </a:xfrm>
            <a:prstGeom prst="rect">
              <a:avLst/>
            </a:prstGeom>
            <a:noFill/>
          </p:spPr>
          <p:txBody>
            <a:bodyPr wrap="square" rtlCol="0">
              <a:spAutoFit/>
            </a:bodyPr>
            <a:lstStyle/>
            <a:p>
              <a:pPr algn="ctr"/>
              <a:r>
                <a:rPr lang="en-GB" sz="1000" dirty="0">
                  <a:latin typeface="Arial" panose="020B0604020202020204" pitchFamily="34" charset="0"/>
                  <a:cs typeface="Arial" panose="020B0604020202020204" pitchFamily="34" charset="0"/>
                </a:rPr>
                <a:t>BSFS advocates for the creation of slide decks, as they are </a:t>
              </a:r>
              <a:r>
                <a:rPr lang="en-GB" sz="1000" b="1" dirty="0">
                  <a:latin typeface="Arial" panose="020B0604020202020204" pitchFamily="34" charset="0"/>
                  <a:cs typeface="Arial" panose="020B0604020202020204" pitchFamily="34" charset="0"/>
                </a:rPr>
                <a:t>more accessible and quicker to read</a:t>
              </a:r>
              <a:r>
                <a:rPr lang="en-GB" sz="1000" dirty="0">
                  <a:latin typeface="Arial" panose="020B0604020202020204" pitchFamily="34" charset="0"/>
                  <a:cs typeface="Arial" panose="020B0604020202020204" pitchFamily="34" charset="0"/>
                </a:rPr>
                <a:t>, making them an efficient way to convey information.</a:t>
              </a:r>
              <a:endParaRPr lang="en-US" sz="1000" dirty="0">
                <a:latin typeface="Arial" panose="020B0604020202020204" pitchFamily="34" charset="0"/>
                <a:cs typeface="Arial" panose="020B0604020202020204" pitchFamily="34" charset="0"/>
              </a:endParaRPr>
            </a:p>
          </p:txBody>
        </p:sp>
      </p:grpSp>
      <p:grpSp>
        <p:nvGrpSpPr>
          <p:cNvPr id="12" name="Group 11">
            <a:extLst>
              <a:ext uri="{FF2B5EF4-FFF2-40B4-BE49-F238E27FC236}">
                <a16:creationId xmlns:a16="http://schemas.microsoft.com/office/drawing/2014/main" id="{29497440-46B3-BD4E-BA32-1F62AB0E61AC}"/>
              </a:ext>
            </a:extLst>
          </p:cNvPr>
          <p:cNvGrpSpPr/>
          <p:nvPr/>
        </p:nvGrpSpPr>
        <p:grpSpPr>
          <a:xfrm>
            <a:off x="3607820" y="1925597"/>
            <a:ext cx="1980000" cy="3250318"/>
            <a:chOff x="3607820" y="1925597"/>
            <a:chExt cx="1980000" cy="3250318"/>
          </a:xfrm>
        </p:grpSpPr>
        <p:sp>
          <p:nvSpPr>
            <p:cNvPr id="30" name="Rettangolo con angoli arrotondati 29">
              <a:extLst>
                <a:ext uri="{FF2B5EF4-FFF2-40B4-BE49-F238E27FC236}">
                  <a16:creationId xmlns:a16="http://schemas.microsoft.com/office/drawing/2014/main" id="{41E2A22B-5A67-1E4B-ADF0-C2B956967E7A}"/>
                </a:ext>
              </a:extLst>
            </p:cNvPr>
            <p:cNvSpPr/>
            <p:nvPr/>
          </p:nvSpPr>
          <p:spPr>
            <a:xfrm>
              <a:off x="3607820" y="1925597"/>
              <a:ext cx="1980000" cy="3250318"/>
            </a:xfrm>
            <a:prstGeom prst="roundRect">
              <a:avLst/>
            </a:prstGeom>
            <a:ln>
              <a:solidFill>
                <a:schemeClr val="tx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3" name="CasellaDiTesto 22">
              <a:extLst>
                <a:ext uri="{FF2B5EF4-FFF2-40B4-BE49-F238E27FC236}">
                  <a16:creationId xmlns:a16="http://schemas.microsoft.com/office/drawing/2014/main" id="{BAC40195-4059-3F42-889C-31631626E92B}"/>
                </a:ext>
              </a:extLst>
            </p:cNvPr>
            <p:cNvSpPr txBox="1"/>
            <p:nvPr/>
          </p:nvSpPr>
          <p:spPr>
            <a:xfrm>
              <a:off x="3958863" y="1990600"/>
              <a:ext cx="1277914" cy="246221"/>
            </a:xfrm>
            <a:prstGeom prst="rect">
              <a:avLst/>
            </a:prstGeom>
            <a:noFill/>
          </p:spPr>
          <p:txBody>
            <a:bodyPr wrap="none" rtlCol="0">
              <a:spAutoFit/>
            </a:bodyPr>
            <a:lstStyle/>
            <a:p>
              <a:r>
                <a:rPr lang="en-US" sz="1000" b="1" dirty="0">
                  <a:solidFill>
                    <a:schemeClr val="tx2">
                      <a:lumMod val="50000"/>
                    </a:schemeClr>
                  </a:solidFill>
                  <a:latin typeface="Arial" panose="020B0604020202020204" pitchFamily="34" charset="0"/>
                  <a:cs typeface="Arial" panose="020B0604020202020204" pitchFamily="34" charset="0"/>
                </a:rPr>
                <a:t>Research Reports</a:t>
              </a:r>
            </a:p>
          </p:txBody>
        </p:sp>
        <p:sp>
          <p:nvSpPr>
            <p:cNvPr id="26" name="CasellaDiTesto 25">
              <a:extLst>
                <a:ext uri="{FF2B5EF4-FFF2-40B4-BE49-F238E27FC236}">
                  <a16:creationId xmlns:a16="http://schemas.microsoft.com/office/drawing/2014/main" id="{0A16B9D6-7707-2F49-9AF7-4AEDFAC1B58D}"/>
                </a:ext>
              </a:extLst>
            </p:cNvPr>
            <p:cNvSpPr txBox="1"/>
            <p:nvPr/>
          </p:nvSpPr>
          <p:spPr>
            <a:xfrm rot="10800000" flipV="1">
              <a:off x="3762419" y="2317470"/>
              <a:ext cx="1670802" cy="1015663"/>
            </a:xfrm>
            <a:prstGeom prst="rect">
              <a:avLst/>
            </a:prstGeom>
            <a:noFill/>
          </p:spPr>
          <p:txBody>
            <a:bodyPr wrap="square" lIns="91440" tIns="45720" rIns="91440" bIns="45720" rtlCol="0" anchor="t">
              <a:spAutoFit/>
            </a:bodyPr>
            <a:lstStyle/>
            <a:p>
              <a:pPr algn="ctr"/>
              <a:r>
                <a:rPr lang="en-US" sz="1000" dirty="0">
                  <a:latin typeface="Arial" panose="020B0604020202020204" pitchFamily="34" charset="0"/>
                  <a:cs typeface="Arial" panose="020B0604020202020204" pitchFamily="34" charset="0"/>
                </a:rPr>
                <a:t>Reports </a:t>
              </a:r>
              <a:r>
                <a:rPr lang="en-US" sz="1000" b="1" dirty="0">
                  <a:latin typeface="Arial" panose="020B0604020202020204" pitchFamily="34" charset="0"/>
                  <a:cs typeface="Arial" panose="020B0604020202020204" pitchFamily="34" charset="0"/>
                </a:rPr>
                <a:t>that tackle a subject in depth </a:t>
              </a:r>
              <a:r>
                <a:rPr lang="en-US" sz="1000" dirty="0">
                  <a:latin typeface="Arial" panose="020B0604020202020204" pitchFamily="34" charset="0"/>
                  <a:cs typeface="Arial" panose="020B0604020202020204" pitchFamily="34" charset="0"/>
                </a:rPr>
                <a:t>aim to gain a comprehensive view of a specific topic based on </a:t>
              </a:r>
              <a:r>
                <a:rPr lang="en-US" sz="1000" b="1" dirty="0">
                  <a:latin typeface="Arial" panose="020B0604020202020204" pitchFamily="34" charset="0"/>
                  <a:cs typeface="Arial" panose="020B0604020202020204" pitchFamily="34" charset="0"/>
                </a:rPr>
                <a:t>strong research</a:t>
              </a:r>
              <a:r>
                <a:rPr lang="en-US" sz="1000" dirty="0">
                  <a:latin typeface="Arial" panose="020B0604020202020204" pitchFamily="34" charset="0"/>
                  <a:cs typeface="Arial" panose="020B0604020202020204" pitchFamily="34" charset="0"/>
                </a:rPr>
                <a:t>. </a:t>
              </a:r>
              <a:endParaRPr lang="it-IT" sz="1000" dirty="0">
                <a:latin typeface="Arial" panose="020B0604020202020204" pitchFamily="34" charset="0"/>
                <a:cs typeface="Arial" panose="020B0604020202020204" pitchFamily="34" charset="0"/>
              </a:endParaRPr>
            </a:p>
          </p:txBody>
        </p:sp>
        <p:pic>
          <p:nvPicPr>
            <p:cNvPr id="2050" name="Picture 2" descr="PDF) Data Analytics and Techniques: A Review">
              <a:extLst>
                <a:ext uri="{FF2B5EF4-FFF2-40B4-BE49-F238E27FC236}">
                  <a16:creationId xmlns:a16="http://schemas.microsoft.com/office/drawing/2014/main" id="{0001E6DC-2B67-C49D-E7D5-61608CB1C2E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3084"/>
            <a:stretch/>
          </p:blipFill>
          <p:spPr bwMode="auto">
            <a:xfrm>
              <a:off x="3933719" y="3490028"/>
              <a:ext cx="1276562" cy="1435953"/>
            </a:xfrm>
            <a:prstGeom prst="round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9CD44D89-47CA-29B1-73DA-4853210D052B}"/>
              </a:ext>
            </a:extLst>
          </p:cNvPr>
          <p:cNvGrpSpPr/>
          <p:nvPr/>
        </p:nvGrpSpPr>
        <p:grpSpPr>
          <a:xfrm>
            <a:off x="6079145" y="1925597"/>
            <a:ext cx="1980000" cy="3250318"/>
            <a:chOff x="6794415" y="1943731"/>
            <a:chExt cx="1980000" cy="3250318"/>
          </a:xfrm>
        </p:grpSpPr>
        <p:sp>
          <p:nvSpPr>
            <p:cNvPr id="32" name="Rettangolo con angoli arrotondati 31">
              <a:extLst>
                <a:ext uri="{FF2B5EF4-FFF2-40B4-BE49-F238E27FC236}">
                  <a16:creationId xmlns:a16="http://schemas.microsoft.com/office/drawing/2014/main" id="{13C3CA69-FAD4-0140-A8A5-D621FD69D508}"/>
                </a:ext>
              </a:extLst>
            </p:cNvPr>
            <p:cNvSpPr/>
            <p:nvPr/>
          </p:nvSpPr>
          <p:spPr>
            <a:xfrm>
              <a:off x="6794415" y="1943731"/>
              <a:ext cx="1980000" cy="3250318"/>
            </a:xfrm>
            <a:prstGeom prst="roundRect">
              <a:avLst/>
            </a:prstGeom>
            <a:ln>
              <a:solidFill>
                <a:schemeClr val="tx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3" name="CasellaDiTesto 32">
              <a:extLst>
                <a:ext uri="{FF2B5EF4-FFF2-40B4-BE49-F238E27FC236}">
                  <a16:creationId xmlns:a16="http://schemas.microsoft.com/office/drawing/2014/main" id="{A7EBFDC0-BC8B-B343-B02A-0C03EE7A85B0}"/>
                </a:ext>
              </a:extLst>
            </p:cNvPr>
            <p:cNvSpPr txBox="1"/>
            <p:nvPr/>
          </p:nvSpPr>
          <p:spPr>
            <a:xfrm>
              <a:off x="7456095" y="2008734"/>
              <a:ext cx="603050" cy="246221"/>
            </a:xfrm>
            <a:prstGeom prst="rect">
              <a:avLst/>
            </a:prstGeom>
            <a:noFill/>
          </p:spPr>
          <p:txBody>
            <a:bodyPr wrap="none" rtlCol="0">
              <a:spAutoFit/>
            </a:bodyPr>
            <a:lstStyle/>
            <a:p>
              <a:r>
                <a:rPr lang="en-US" sz="1000" b="1" dirty="0">
                  <a:solidFill>
                    <a:schemeClr val="tx2">
                      <a:lumMod val="50000"/>
                    </a:schemeClr>
                  </a:solidFill>
                  <a:latin typeface="Arial" panose="020B0604020202020204" pitchFamily="34" charset="0"/>
                  <a:cs typeface="Arial" panose="020B0604020202020204" pitchFamily="34" charset="0"/>
                </a:rPr>
                <a:t>Events</a:t>
              </a:r>
            </a:p>
          </p:txBody>
        </p:sp>
        <p:sp>
          <p:nvSpPr>
            <p:cNvPr id="34" name="CasellaDiTesto 33">
              <a:extLst>
                <a:ext uri="{FF2B5EF4-FFF2-40B4-BE49-F238E27FC236}">
                  <a16:creationId xmlns:a16="http://schemas.microsoft.com/office/drawing/2014/main" id="{93F5B873-C7C8-B245-96C3-94BC873ED203}"/>
                </a:ext>
              </a:extLst>
            </p:cNvPr>
            <p:cNvSpPr txBox="1"/>
            <p:nvPr/>
          </p:nvSpPr>
          <p:spPr>
            <a:xfrm>
              <a:off x="6984656" y="2315314"/>
              <a:ext cx="1584000" cy="1169551"/>
            </a:xfrm>
            <a:prstGeom prst="rect">
              <a:avLst/>
            </a:prstGeom>
            <a:noFill/>
          </p:spPr>
          <p:txBody>
            <a:bodyPr wrap="square" lIns="91440" tIns="45720" rIns="91440" bIns="45720" rtlCol="0" anchor="t">
              <a:spAutoFit/>
            </a:bodyPr>
            <a:lstStyle/>
            <a:p>
              <a:pPr algn="ctr"/>
              <a:r>
                <a:rPr lang="en-US" sz="1000" dirty="0">
                  <a:latin typeface="Arial" panose="020B0604020202020204" pitchFamily="34" charset="0"/>
                  <a:cs typeface="Arial" panose="020B0604020202020204" pitchFamily="34" charset="0"/>
                </a:rPr>
                <a:t>We organize </a:t>
              </a:r>
              <a:r>
                <a:rPr lang="en-US" sz="1000" b="1" dirty="0">
                  <a:latin typeface="Arial" panose="020B0604020202020204" pitchFamily="34" charset="0"/>
                  <a:cs typeface="Arial" panose="020B0604020202020204" pitchFamily="34" charset="0"/>
                </a:rPr>
                <a:t>events, workshops, and masterclasses</a:t>
              </a:r>
              <a:r>
                <a:rPr lang="en-US" sz="1000" dirty="0">
                  <a:latin typeface="Arial" panose="020B0604020202020204" pitchFamily="34" charset="0"/>
                  <a:cs typeface="Arial" panose="020B0604020202020204" pitchFamily="34" charset="0"/>
                </a:rPr>
                <a:t> opened only to our members or to the entire Bocconi community with high-level speakers</a:t>
              </a:r>
            </a:p>
          </p:txBody>
        </p:sp>
        <p:pic>
          <p:nvPicPr>
            <p:cNvPr id="2052" name="Picture 4" descr="Saudi's Flagship Fintech Event | 24 Fintech 2025">
              <a:extLst>
                <a:ext uri="{FF2B5EF4-FFF2-40B4-BE49-F238E27FC236}">
                  <a16:creationId xmlns:a16="http://schemas.microsoft.com/office/drawing/2014/main" id="{93E14A98-3A4E-79F5-7B83-FD1660CC1B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84656" y="3676285"/>
              <a:ext cx="1599518" cy="1193807"/>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Date Placeholder 3">
            <a:extLst>
              <a:ext uri="{FF2B5EF4-FFF2-40B4-BE49-F238E27FC236}">
                <a16:creationId xmlns:a16="http://schemas.microsoft.com/office/drawing/2014/main" id="{A48A2822-34F5-0707-36B6-19FBBBE76032}"/>
              </a:ext>
            </a:extLst>
          </p:cNvPr>
          <p:cNvSpPr txBox="1">
            <a:spLocks/>
          </p:cNvSpPr>
          <p:nvPr/>
        </p:nvSpPr>
        <p:spPr>
          <a:xfrm>
            <a:off x="357680" y="6356351"/>
            <a:ext cx="20574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Arial" panose="020B0604020202020204" pitchFamily="34" charset="0"/>
                <a:cs typeface="Arial" panose="020B0604020202020204" pitchFamily="34" charset="0"/>
              </a:rPr>
              <a:t>November 20, 2024</a:t>
            </a:r>
          </a:p>
        </p:txBody>
      </p:sp>
    </p:spTree>
    <p:extLst>
      <p:ext uri="{BB962C8B-B14F-4D97-AF65-F5344CB8AC3E}">
        <p14:creationId xmlns:p14="http://schemas.microsoft.com/office/powerpoint/2010/main" val="32889840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28016-D472-452E-AC1F-80C572FF7185}"/>
              </a:ext>
            </a:extLst>
          </p:cNvPr>
          <p:cNvSpPr>
            <a:spLocks noGrp="1"/>
          </p:cNvSpPr>
          <p:nvPr>
            <p:ph type="title"/>
          </p:nvPr>
        </p:nvSpPr>
        <p:spPr/>
        <p:txBody>
          <a:bodyPr/>
          <a:lstStyle/>
          <a:p>
            <a:r>
              <a:rPr lang="en-GB" dirty="0"/>
              <a:t>Our Past Events</a:t>
            </a:r>
          </a:p>
        </p:txBody>
      </p:sp>
      <p:sp>
        <p:nvSpPr>
          <p:cNvPr id="3" name="Content Placeholder 2">
            <a:extLst>
              <a:ext uri="{FF2B5EF4-FFF2-40B4-BE49-F238E27FC236}">
                <a16:creationId xmlns:a16="http://schemas.microsoft.com/office/drawing/2014/main" id="{CBF76E92-22D7-44CA-B79F-3D86D4F56373}"/>
              </a:ext>
            </a:extLst>
          </p:cNvPr>
          <p:cNvSpPr>
            <a:spLocks noGrp="1"/>
          </p:cNvSpPr>
          <p:nvPr>
            <p:ph idx="1"/>
          </p:nvPr>
        </p:nvSpPr>
        <p:spPr>
          <a:xfrm>
            <a:off x="356695" y="1412834"/>
            <a:ext cx="8429625" cy="662196"/>
          </a:xfrm>
        </p:spPr>
        <p:txBody>
          <a:bodyPr>
            <a:normAutofit/>
          </a:bodyPr>
          <a:lstStyle/>
          <a:p>
            <a:r>
              <a:rPr lang="en-GB" sz="1500" dirty="0"/>
              <a:t>Bocconi Students Fintech Society is committed to organize events in collaboration with leading associations and global organizations to </a:t>
            </a:r>
            <a:r>
              <a:rPr lang="en-GB" sz="1500" dirty="0">
                <a:solidFill>
                  <a:schemeClr val="tx2">
                    <a:lumMod val="50000"/>
                  </a:schemeClr>
                </a:solidFill>
              </a:rPr>
              <a:t>gain hands-on insights. </a:t>
            </a:r>
          </a:p>
        </p:txBody>
      </p:sp>
      <p:sp>
        <p:nvSpPr>
          <p:cNvPr id="5" name="Slide Number Placeholder 4">
            <a:extLst>
              <a:ext uri="{FF2B5EF4-FFF2-40B4-BE49-F238E27FC236}">
                <a16:creationId xmlns:a16="http://schemas.microsoft.com/office/drawing/2014/main" id="{175FF6B2-C77B-43CD-8A89-F72C7EAC5FA6}"/>
              </a:ext>
            </a:extLst>
          </p:cNvPr>
          <p:cNvSpPr>
            <a:spLocks noGrp="1"/>
          </p:cNvSpPr>
          <p:nvPr>
            <p:ph type="sldNum" sz="quarter" idx="12"/>
          </p:nvPr>
        </p:nvSpPr>
        <p:spPr/>
        <p:txBody>
          <a:bodyPr/>
          <a:lstStyle/>
          <a:p>
            <a:fld id="{330EA680-D336-4FF7-8B7A-9848BB0A1C32}" type="slidenum">
              <a:rPr lang="en-US" smtClean="0"/>
              <a:pPr/>
              <a:t>5</a:t>
            </a:fld>
            <a:endParaRPr lang="en-US"/>
          </a:p>
        </p:txBody>
      </p:sp>
      <p:sp>
        <p:nvSpPr>
          <p:cNvPr id="6" name="Text Placeholder 5">
            <a:extLst>
              <a:ext uri="{FF2B5EF4-FFF2-40B4-BE49-F238E27FC236}">
                <a16:creationId xmlns:a16="http://schemas.microsoft.com/office/drawing/2014/main" id="{BBB353E3-2FDC-4BCA-871A-36F95987947C}"/>
              </a:ext>
            </a:extLst>
          </p:cNvPr>
          <p:cNvSpPr>
            <a:spLocks noGrp="1"/>
          </p:cNvSpPr>
          <p:nvPr>
            <p:ph type="body" sz="quarter" idx="13"/>
          </p:nvPr>
        </p:nvSpPr>
        <p:spPr/>
        <p:txBody>
          <a:bodyPr>
            <a:normAutofit/>
          </a:bodyPr>
          <a:lstStyle/>
          <a:p>
            <a:r>
              <a:rPr lang="en-GB" sz="800" dirty="0"/>
              <a:t>Selected events from our past years</a:t>
            </a:r>
          </a:p>
        </p:txBody>
      </p:sp>
      <p:grpSp>
        <p:nvGrpSpPr>
          <p:cNvPr id="12" name="Group 11">
            <a:extLst>
              <a:ext uri="{FF2B5EF4-FFF2-40B4-BE49-F238E27FC236}">
                <a16:creationId xmlns:a16="http://schemas.microsoft.com/office/drawing/2014/main" id="{B10486FB-2152-4AE3-B4CF-0661E6029958}"/>
              </a:ext>
            </a:extLst>
          </p:cNvPr>
          <p:cNvGrpSpPr/>
          <p:nvPr/>
        </p:nvGrpSpPr>
        <p:grpSpPr>
          <a:xfrm>
            <a:off x="356695" y="2002730"/>
            <a:ext cx="8372933" cy="3385183"/>
            <a:chOff x="411383" y="2010350"/>
            <a:chExt cx="8372933" cy="3385183"/>
          </a:xfrm>
        </p:grpSpPr>
        <p:grpSp>
          <p:nvGrpSpPr>
            <p:cNvPr id="11" name="Group 10">
              <a:extLst>
                <a:ext uri="{FF2B5EF4-FFF2-40B4-BE49-F238E27FC236}">
                  <a16:creationId xmlns:a16="http://schemas.microsoft.com/office/drawing/2014/main" id="{B36A3BF1-8690-4724-B731-B88B1AF26ED7}"/>
                </a:ext>
              </a:extLst>
            </p:cNvPr>
            <p:cNvGrpSpPr/>
            <p:nvPr/>
          </p:nvGrpSpPr>
          <p:grpSpPr>
            <a:xfrm>
              <a:off x="411383" y="2010350"/>
              <a:ext cx="8372933" cy="3385183"/>
              <a:chOff x="405571" y="2097176"/>
              <a:chExt cx="7483052" cy="3306272"/>
            </a:xfrm>
          </p:grpSpPr>
          <p:grpSp>
            <p:nvGrpSpPr>
              <p:cNvPr id="8" name="Group 7">
                <a:extLst>
                  <a:ext uri="{FF2B5EF4-FFF2-40B4-BE49-F238E27FC236}">
                    <a16:creationId xmlns:a16="http://schemas.microsoft.com/office/drawing/2014/main" id="{39ACB40E-8915-4821-BF73-2CD47BE201DE}"/>
                  </a:ext>
                </a:extLst>
              </p:cNvPr>
              <p:cNvGrpSpPr/>
              <p:nvPr/>
            </p:nvGrpSpPr>
            <p:grpSpPr>
              <a:xfrm>
                <a:off x="405571" y="2097176"/>
                <a:ext cx="7483052" cy="3306272"/>
                <a:chOff x="406615" y="1785097"/>
                <a:chExt cx="8351924" cy="3690169"/>
              </a:xfrm>
            </p:grpSpPr>
            <p:pic>
              <p:nvPicPr>
                <p:cNvPr id="64" name="Picture 9">
                  <a:extLst>
                    <a:ext uri="{FF2B5EF4-FFF2-40B4-BE49-F238E27FC236}">
                      <a16:creationId xmlns:a16="http://schemas.microsoft.com/office/drawing/2014/main" id="{2C33C025-0FC6-44A8-900D-3728EF1AD04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25377" y="1843388"/>
                  <a:ext cx="1225996" cy="1721522"/>
                </a:xfrm>
                <a:prstGeom prst="rect">
                  <a:avLst/>
                </a:prstGeom>
                <a:effectLst>
                  <a:outerShdw blurRad="50800" dist="38100" dir="5400000" algn="t" rotWithShape="0">
                    <a:prstClr val="black">
                      <a:alpha val="40000"/>
                    </a:prstClr>
                  </a:outerShdw>
                </a:effectLst>
              </p:spPr>
            </p:pic>
            <p:pic>
              <p:nvPicPr>
                <p:cNvPr id="65" name="Picture 11">
                  <a:extLst>
                    <a:ext uri="{FF2B5EF4-FFF2-40B4-BE49-F238E27FC236}">
                      <a16:creationId xmlns:a16="http://schemas.microsoft.com/office/drawing/2014/main" id="{379A60D1-7AFA-4C3A-A3E2-3C083F61CB1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47783" y="1852326"/>
                  <a:ext cx="1218989" cy="1723890"/>
                </a:xfrm>
                <a:prstGeom prst="rect">
                  <a:avLst/>
                </a:prstGeom>
                <a:effectLst>
                  <a:outerShdw blurRad="50800" dist="38100" dir="5400000" algn="t" rotWithShape="0">
                    <a:prstClr val="black">
                      <a:alpha val="40000"/>
                    </a:prstClr>
                  </a:outerShdw>
                </a:effectLst>
              </p:spPr>
            </p:pic>
            <p:pic>
              <p:nvPicPr>
                <p:cNvPr id="66" name="Picture 13">
                  <a:extLst>
                    <a:ext uri="{FF2B5EF4-FFF2-40B4-BE49-F238E27FC236}">
                      <a16:creationId xmlns:a16="http://schemas.microsoft.com/office/drawing/2014/main" id="{EABA7DC1-1BC9-4C41-B5CC-AF98CE04AC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63182" y="1856739"/>
                  <a:ext cx="1218700" cy="1723890"/>
                </a:xfrm>
                <a:prstGeom prst="rect">
                  <a:avLst/>
                </a:prstGeom>
                <a:effectLst>
                  <a:outerShdw blurRad="50800" dist="38100" dir="5400000" algn="t" rotWithShape="0">
                    <a:prstClr val="black">
                      <a:alpha val="40000"/>
                    </a:prstClr>
                  </a:outerShdw>
                </a:effectLst>
              </p:spPr>
            </p:pic>
            <p:pic>
              <p:nvPicPr>
                <p:cNvPr id="67" name="Picture 15">
                  <a:extLst>
                    <a:ext uri="{FF2B5EF4-FFF2-40B4-BE49-F238E27FC236}">
                      <a16:creationId xmlns:a16="http://schemas.microsoft.com/office/drawing/2014/main" id="{078060D5-89DA-4860-8CAB-DF13E25E834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78293" y="1840125"/>
                  <a:ext cx="1267137" cy="1723890"/>
                </a:xfrm>
                <a:prstGeom prst="rect">
                  <a:avLst/>
                </a:prstGeom>
                <a:effectLst>
                  <a:outerShdw blurRad="50800" dist="38100" dir="5400000" algn="t" rotWithShape="0">
                    <a:prstClr val="black">
                      <a:alpha val="40000"/>
                    </a:prstClr>
                  </a:outerShdw>
                </a:effectLst>
              </p:spPr>
            </p:pic>
            <p:pic>
              <p:nvPicPr>
                <p:cNvPr id="69" name="Picture 17">
                  <a:extLst>
                    <a:ext uri="{FF2B5EF4-FFF2-40B4-BE49-F238E27FC236}">
                      <a16:creationId xmlns:a16="http://schemas.microsoft.com/office/drawing/2014/main" id="{0AE08AEE-75C3-4665-9A87-3652573B355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06615" y="3679216"/>
                  <a:ext cx="1225995" cy="1789462"/>
                </a:xfrm>
                <a:prstGeom prst="rect">
                  <a:avLst/>
                </a:prstGeom>
                <a:effectLst>
                  <a:outerShdw blurRad="50800" dist="38100" dir="5400000" algn="t" rotWithShape="0">
                    <a:prstClr val="black">
                      <a:alpha val="40000"/>
                    </a:prstClr>
                  </a:outerShdw>
                </a:effectLst>
              </p:spPr>
            </p:pic>
            <p:pic>
              <p:nvPicPr>
                <p:cNvPr id="70" name="Picture 19">
                  <a:extLst>
                    <a:ext uri="{FF2B5EF4-FFF2-40B4-BE49-F238E27FC236}">
                      <a16:creationId xmlns:a16="http://schemas.microsoft.com/office/drawing/2014/main" id="{6335A6B5-F39D-467D-9942-7AD351046CB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829023" y="3679216"/>
                  <a:ext cx="1225995" cy="1787746"/>
                </a:xfrm>
                <a:prstGeom prst="rect">
                  <a:avLst/>
                </a:prstGeom>
                <a:effectLst>
                  <a:outerShdw blurRad="50800" dist="38100" dir="5400000" algn="t" rotWithShape="0">
                    <a:prstClr val="black">
                      <a:alpha val="40000"/>
                    </a:prstClr>
                  </a:outerShdw>
                </a:effectLst>
              </p:spPr>
            </p:pic>
            <p:pic>
              <p:nvPicPr>
                <p:cNvPr id="71" name="Picture 21">
                  <a:extLst>
                    <a:ext uri="{FF2B5EF4-FFF2-40B4-BE49-F238E27FC236}">
                      <a16:creationId xmlns:a16="http://schemas.microsoft.com/office/drawing/2014/main" id="{7B538C57-05AC-4B60-8641-B8033C356B4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251429" y="3678588"/>
                  <a:ext cx="1218989" cy="1788374"/>
                </a:xfrm>
                <a:prstGeom prst="rect">
                  <a:avLst/>
                </a:prstGeom>
                <a:effectLst>
                  <a:outerShdw blurRad="50800" dist="38100" dir="5400000" algn="t" rotWithShape="0">
                    <a:prstClr val="black">
                      <a:alpha val="40000"/>
                    </a:prstClr>
                  </a:outerShdw>
                </a:effectLst>
              </p:spPr>
            </p:pic>
            <p:pic>
              <p:nvPicPr>
                <p:cNvPr id="72" name="Picture 23">
                  <a:extLst>
                    <a:ext uri="{FF2B5EF4-FFF2-40B4-BE49-F238E27FC236}">
                      <a16:creationId xmlns:a16="http://schemas.microsoft.com/office/drawing/2014/main" id="{8DFE3CCE-A931-44C7-BBD2-2A34054C2244}"/>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496956" y="1785097"/>
                  <a:ext cx="1261583" cy="1791119"/>
                </a:xfrm>
                <a:prstGeom prst="rect">
                  <a:avLst/>
                </a:prstGeom>
                <a:effectLst>
                  <a:outerShdw blurRad="50800" dist="38100" dir="5400000" algn="t" rotWithShape="0">
                    <a:prstClr val="black">
                      <a:alpha val="40000"/>
                    </a:prstClr>
                  </a:outerShdw>
                </a:effectLst>
              </p:spPr>
            </p:pic>
            <p:pic>
              <p:nvPicPr>
                <p:cNvPr id="73" name="Picture 25">
                  <a:extLst>
                    <a:ext uri="{FF2B5EF4-FFF2-40B4-BE49-F238E27FC236}">
                      <a16:creationId xmlns:a16="http://schemas.microsoft.com/office/drawing/2014/main" id="{7F62F836-EAF9-4FD0-9893-CCD8A6B7B8B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666829" y="3679701"/>
                  <a:ext cx="1218700" cy="1795565"/>
                </a:xfrm>
                <a:prstGeom prst="rect">
                  <a:avLst/>
                </a:prstGeom>
                <a:effectLst>
                  <a:outerShdw blurRad="50800" dist="38100" dir="5400000" algn="t" rotWithShape="0">
                    <a:prstClr val="black">
                      <a:alpha val="40000"/>
                    </a:prstClr>
                  </a:outerShdw>
                </a:effectLst>
              </p:spPr>
            </p:pic>
            <p:pic>
              <p:nvPicPr>
                <p:cNvPr id="7" name="Immagine 7" descr="Immagine che contiene testo&#10;&#10;Descrizione generata automaticamente">
                  <a:extLst>
                    <a:ext uri="{FF2B5EF4-FFF2-40B4-BE49-F238E27FC236}">
                      <a16:creationId xmlns:a16="http://schemas.microsoft.com/office/drawing/2014/main" id="{363F7323-427D-4D63-B355-EF629C4F52E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085390" y="3677362"/>
                  <a:ext cx="1257515" cy="1794425"/>
                </a:xfrm>
                <a:prstGeom prst="rect">
                  <a:avLst/>
                </a:prstGeom>
                <a:effectLst>
                  <a:outerShdw blurRad="50800" dist="38100" dir="5400000" algn="t" rotWithShape="0">
                    <a:prstClr val="black">
                      <a:alpha val="40000"/>
                    </a:prstClr>
                  </a:outerShdw>
                </a:effectLst>
              </p:spPr>
            </p:pic>
          </p:grpSp>
          <p:pic>
            <p:nvPicPr>
              <p:cNvPr id="10" name="Picture 9">
                <a:extLst>
                  <a:ext uri="{FF2B5EF4-FFF2-40B4-BE49-F238E27FC236}">
                    <a16:creationId xmlns:a16="http://schemas.microsoft.com/office/drawing/2014/main" id="{DBCC97DC-C69A-4654-9CCF-4EA49E3189E7}"/>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05572" y="2157410"/>
                <a:ext cx="1091915" cy="1534698"/>
              </a:xfrm>
              <a:prstGeom prst="rect">
                <a:avLst/>
              </a:prstGeom>
              <a:effectLst>
                <a:outerShdw blurRad="50800" dist="38100" dir="5400000" algn="t" rotWithShape="0">
                  <a:prstClr val="black">
                    <a:alpha val="40000"/>
                  </a:prstClr>
                </a:outerShdw>
              </a:effectLst>
            </p:spPr>
          </p:pic>
        </p:grpSp>
        <p:pic>
          <p:nvPicPr>
            <p:cNvPr id="9" name="Picture 8" descr="A picture containing graphical user interface&#10;&#10;Description automatically generated">
              <a:extLst>
                <a:ext uri="{FF2B5EF4-FFF2-40B4-BE49-F238E27FC236}">
                  <a16:creationId xmlns:a16="http://schemas.microsoft.com/office/drawing/2014/main" id="{5C96D7EF-663A-4CF1-B302-1E62092B5695}"/>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523638" y="3747348"/>
              <a:ext cx="1260678" cy="1646118"/>
            </a:xfrm>
            <a:prstGeom prst="rect">
              <a:avLst/>
            </a:prstGeom>
            <a:effectLst>
              <a:outerShdw blurRad="50800" dist="38100" dir="5400000" algn="t" rotWithShape="0">
                <a:prstClr val="black">
                  <a:alpha val="40000"/>
                </a:prstClr>
              </a:outerShdw>
            </a:effectLst>
          </p:spPr>
        </p:pic>
      </p:grpSp>
      <p:sp>
        <p:nvSpPr>
          <p:cNvPr id="4" name="Date Placeholder 3">
            <a:extLst>
              <a:ext uri="{FF2B5EF4-FFF2-40B4-BE49-F238E27FC236}">
                <a16:creationId xmlns:a16="http://schemas.microsoft.com/office/drawing/2014/main" id="{5DE5081B-135E-4D97-146C-AC716362B56A}"/>
              </a:ext>
            </a:extLst>
          </p:cNvPr>
          <p:cNvSpPr txBox="1">
            <a:spLocks/>
          </p:cNvSpPr>
          <p:nvPr/>
        </p:nvSpPr>
        <p:spPr>
          <a:xfrm>
            <a:off x="357680" y="6356351"/>
            <a:ext cx="20574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Arial" panose="020B0604020202020204" pitchFamily="34" charset="0"/>
                <a:cs typeface="Arial" panose="020B0604020202020204" pitchFamily="34" charset="0"/>
              </a:rPr>
              <a:t>November 20, 2024</a:t>
            </a:r>
          </a:p>
        </p:txBody>
      </p:sp>
    </p:spTree>
    <p:extLst>
      <p:ext uri="{BB962C8B-B14F-4D97-AF65-F5344CB8AC3E}">
        <p14:creationId xmlns:p14="http://schemas.microsoft.com/office/powerpoint/2010/main" val="13732694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47"/>
        <p:cNvGrpSpPr/>
        <p:nvPr/>
      </p:nvGrpSpPr>
      <p:grpSpPr>
        <a:xfrm>
          <a:off x="0" y="0"/>
          <a:ext cx="0" cy="0"/>
          <a:chOff x="0" y="0"/>
          <a:chExt cx="0" cy="0"/>
        </a:xfrm>
      </p:grpSpPr>
      <p:sp>
        <p:nvSpPr>
          <p:cNvPr id="548" name="Google Shape;548;p8"/>
          <p:cNvSpPr txBox="1">
            <a:spLocks noGrp="1"/>
          </p:cNvSpPr>
          <p:nvPr>
            <p:ph type="title"/>
          </p:nvPr>
        </p:nvSpPr>
        <p:spPr>
          <a:xfrm>
            <a:off x="356695" y="365126"/>
            <a:ext cx="8429625" cy="744887"/>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lt1"/>
              </a:buClr>
              <a:buSzPts val="2400"/>
              <a:buFont typeface="Arial"/>
              <a:buNone/>
            </a:pPr>
            <a:r>
              <a:rPr lang="en-US" dirty="0"/>
              <a:t>New Events</a:t>
            </a:r>
            <a:endParaRPr dirty="0"/>
          </a:p>
        </p:txBody>
      </p:sp>
      <p:sp>
        <p:nvSpPr>
          <p:cNvPr id="549" name="Google Shape;549;p8"/>
          <p:cNvSpPr txBox="1">
            <a:spLocks noGrp="1"/>
          </p:cNvSpPr>
          <p:nvPr>
            <p:ph type="dt" idx="10"/>
          </p:nvPr>
        </p:nvSpPr>
        <p:spPr>
          <a:xfrm>
            <a:off x="357680" y="6356351"/>
            <a:ext cx="2057400" cy="3651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r>
              <a:rPr lang="en-US" dirty="0"/>
              <a:t>November 20, 2023</a:t>
            </a:r>
            <a:endParaRPr dirty="0"/>
          </a:p>
        </p:txBody>
      </p:sp>
      <p:sp>
        <p:nvSpPr>
          <p:cNvPr id="550" name="Google Shape;550;p8"/>
          <p:cNvSpPr txBox="1">
            <a:spLocks noGrp="1"/>
          </p:cNvSpPr>
          <p:nvPr>
            <p:ph type="sldNum" idx="12"/>
          </p:nvPr>
        </p:nvSpPr>
        <p:spPr>
          <a:xfrm>
            <a:off x="6728920" y="6356351"/>
            <a:ext cx="20574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6</a:t>
            </a:fld>
            <a:endParaRPr/>
          </a:p>
        </p:txBody>
      </p:sp>
      <p:sp>
        <p:nvSpPr>
          <p:cNvPr id="551" name="Google Shape;551;p8"/>
          <p:cNvSpPr txBox="1">
            <a:spLocks noGrp="1"/>
          </p:cNvSpPr>
          <p:nvPr>
            <p:ph type="body" idx="2"/>
          </p:nvPr>
        </p:nvSpPr>
        <p:spPr>
          <a:xfrm>
            <a:off x="357188" y="5843588"/>
            <a:ext cx="8429625" cy="425450"/>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accent6"/>
              </a:buClr>
              <a:buSzPts val="1000"/>
              <a:buNone/>
            </a:pPr>
            <a:endParaRPr dirty="0"/>
          </a:p>
        </p:txBody>
      </p:sp>
      <p:sp>
        <p:nvSpPr>
          <p:cNvPr id="3" name="Content Placeholder 2">
            <a:extLst>
              <a:ext uri="{FF2B5EF4-FFF2-40B4-BE49-F238E27FC236}">
                <a16:creationId xmlns:a16="http://schemas.microsoft.com/office/drawing/2014/main" id="{A3F91A44-E9F2-425B-341B-3B610F5BC008}"/>
              </a:ext>
            </a:extLst>
          </p:cNvPr>
          <p:cNvSpPr txBox="1">
            <a:spLocks/>
          </p:cNvSpPr>
          <p:nvPr/>
        </p:nvSpPr>
        <p:spPr>
          <a:xfrm>
            <a:off x="489609" y="1315662"/>
            <a:ext cx="3624361"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Internal Meetings</a:t>
            </a:r>
          </a:p>
        </p:txBody>
      </p:sp>
      <p:sp>
        <p:nvSpPr>
          <p:cNvPr id="5" name="TextBox 4">
            <a:extLst>
              <a:ext uri="{FF2B5EF4-FFF2-40B4-BE49-F238E27FC236}">
                <a16:creationId xmlns:a16="http://schemas.microsoft.com/office/drawing/2014/main" id="{F569B470-67BB-F886-93F3-F7DAF74CB623}"/>
              </a:ext>
            </a:extLst>
          </p:cNvPr>
          <p:cNvSpPr txBox="1"/>
          <p:nvPr/>
        </p:nvSpPr>
        <p:spPr>
          <a:xfrm>
            <a:off x="489609" y="1689156"/>
            <a:ext cx="4341883" cy="523220"/>
          </a:xfrm>
          <a:prstGeom prst="rect">
            <a:avLst/>
          </a:prstGeom>
          <a:noFill/>
        </p:spPr>
        <p:txBody>
          <a:bodyPr wrap="square" rtlCol="0">
            <a:spAutoFit/>
          </a:bodyPr>
          <a:lstStyle/>
          <a:p>
            <a:pPr marL="285750" indent="-285750">
              <a:buFont typeface="Arial" panose="020B0604020202020204" pitchFamily="34" charset="0"/>
              <a:buChar char="•"/>
            </a:pPr>
            <a:r>
              <a:rPr lang="en-IT" sz="1400" b="1" dirty="0"/>
              <a:t>Projects &amp; Articles presentation meetings</a:t>
            </a:r>
          </a:p>
          <a:p>
            <a:pPr marL="285750" indent="-285750">
              <a:buFont typeface="Arial" panose="020B0604020202020204" pitchFamily="34" charset="0"/>
              <a:buChar char="•"/>
            </a:pPr>
            <a:r>
              <a:rPr lang="en-IT" sz="1400" dirty="0"/>
              <a:t>Fintech Market insights about news, deals, …</a:t>
            </a:r>
          </a:p>
        </p:txBody>
      </p:sp>
      <p:grpSp>
        <p:nvGrpSpPr>
          <p:cNvPr id="12" name="Group 11">
            <a:extLst>
              <a:ext uri="{FF2B5EF4-FFF2-40B4-BE49-F238E27FC236}">
                <a16:creationId xmlns:a16="http://schemas.microsoft.com/office/drawing/2014/main" id="{C3A4D684-506B-933A-BB41-1F8A8ABE9804}"/>
              </a:ext>
            </a:extLst>
          </p:cNvPr>
          <p:cNvGrpSpPr/>
          <p:nvPr/>
        </p:nvGrpSpPr>
        <p:grpSpPr>
          <a:xfrm>
            <a:off x="4802117" y="1371189"/>
            <a:ext cx="4341883" cy="867592"/>
            <a:chOff x="489191" y="2626219"/>
            <a:chExt cx="4341883" cy="867592"/>
          </a:xfrm>
        </p:grpSpPr>
        <p:sp>
          <p:nvSpPr>
            <p:cNvPr id="6" name="Content Placeholder 2">
              <a:extLst>
                <a:ext uri="{FF2B5EF4-FFF2-40B4-BE49-F238E27FC236}">
                  <a16:creationId xmlns:a16="http://schemas.microsoft.com/office/drawing/2014/main" id="{4691FDB9-379B-3286-ECF5-4C74C68FE75D}"/>
                </a:ext>
              </a:extLst>
            </p:cNvPr>
            <p:cNvSpPr txBox="1">
              <a:spLocks/>
            </p:cNvSpPr>
            <p:nvPr/>
          </p:nvSpPr>
          <p:spPr>
            <a:xfrm>
              <a:off x="489609" y="2626219"/>
              <a:ext cx="3624361"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Networking Aperitivos</a:t>
              </a:r>
            </a:p>
          </p:txBody>
        </p:sp>
        <p:sp>
          <p:nvSpPr>
            <p:cNvPr id="7" name="TextBox 6">
              <a:extLst>
                <a:ext uri="{FF2B5EF4-FFF2-40B4-BE49-F238E27FC236}">
                  <a16:creationId xmlns:a16="http://schemas.microsoft.com/office/drawing/2014/main" id="{181FACD9-B578-AB07-8E49-FFEDC0A92A85}"/>
                </a:ext>
              </a:extLst>
            </p:cNvPr>
            <p:cNvSpPr txBox="1"/>
            <p:nvPr/>
          </p:nvSpPr>
          <p:spPr>
            <a:xfrm>
              <a:off x="489191" y="2970591"/>
              <a:ext cx="4341883" cy="523220"/>
            </a:xfrm>
            <a:prstGeom prst="rect">
              <a:avLst/>
            </a:prstGeom>
            <a:noFill/>
          </p:spPr>
          <p:txBody>
            <a:bodyPr wrap="square" rtlCol="0">
              <a:spAutoFit/>
            </a:bodyPr>
            <a:lstStyle/>
            <a:p>
              <a:r>
                <a:rPr lang="en-IT" sz="1400" b="1" dirty="0"/>
                <a:t>Goal: </a:t>
              </a:r>
              <a:r>
                <a:rPr lang="en-IT" sz="1400" dirty="0"/>
                <a:t>Get to know each others more and building a community of future fintech leaders. </a:t>
              </a:r>
            </a:p>
          </p:txBody>
        </p:sp>
      </p:grpSp>
      <p:sp>
        <p:nvSpPr>
          <p:cNvPr id="8" name="Content Placeholder 2">
            <a:extLst>
              <a:ext uri="{FF2B5EF4-FFF2-40B4-BE49-F238E27FC236}">
                <a16:creationId xmlns:a16="http://schemas.microsoft.com/office/drawing/2014/main" id="{12C927C9-3C30-0A13-B2CC-9620E89A4F72}"/>
              </a:ext>
            </a:extLst>
          </p:cNvPr>
          <p:cNvSpPr txBox="1">
            <a:spLocks/>
          </p:cNvSpPr>
          <p:nvPr/>
        </p:nvSpPr>
        <p:spPr>
          <a:xfrm>
            <a:off x="602899" y="3681813"/>
            <a:ext cx="3624361" cy="4254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Public events</a:t>
            </a:r>
          </a:p>
        </p:txBody>
      </p:sp>
      <p:sp>
        <p:nvSpPr>
          <p:cNvPr id="9" name="TextBox 8">
            <a:extLst>
              <a:ext uri="{FF2B5EF4-FFF2-40B4-BE49-F238E27FC236}">
                <a16:creationId xmlns:a16="http://schemas.microsoft.com/office/drawing/2014/main" id="{57FC99EE-2668-967F-B1EF-7E17D3856D97}"/>
              </a:ext>
            </a:extLst>
          </p:cNvPr>
          <p:cNvSpPr txBox="1"/>
          <p:nvPr/>
        </p:nvSpPr>
        <p:spPr>
          <a:xfrm>
            <a:off x="602899" y="4206316"/>
            <a:ext cx="4980745" cy="1384995"/>
          </a:xfrm>
          <a:prstGeom prst="rect">
            <a:avLst/>
          </a:prstGeom>
          <a:noFill/>
        </p:spPr>
        <p:txBody>
          <a:bodyPr wrap="square" rtlCol="0">
            <a:spAutoFit/>
          </a:bodyPr>
          <a:lstStyle/>
          <a:p>
            <a:r>
              <a:rPr lang="en-IT" sz="1400" b="1" u="sng" dirty="0"/>
              <a:t>Missions : </a:t>
            </a:r>
          </a:p>
          <a:p>
            <a:pPr marL="285750" indent="-285750">
              <a:buFont typeface="Wingdings" pitchFamily="2" charset="2"/>
              <a:buChar char="q"/>
            </a:pPr>
            <a:r>
              <a:rPr lang="en-IT" sz="1400" dirty="0"/>
              <a:t>Contacting interesting personalities to invite</a:t>
            </a:r>
          </a:p>
          <a:p>
            <a:pPr marL="285750" indent="-285750">
              <a:buFont typeface="Wingdings" pitchFamily="2" charset="2"/>
              <a:buChar char="q"/>
            </a:pPr>
            <a:r>
              <a:rPr lang="en-IT" sz="1400" dirty="0"/>
              <a:t>Define the outline of the events ( subject &amp; its limits)</a:t>
            </a:r>
          </a:p>
          <a:p>
            <a:pPr marL="285750" indent="-285750">
              <a:buFont typeface="Wingdings" pitchFamily="2" charset="2"/>
              <a:buChar char="q"/>
            </a:pPr>
            <a:r>
              <a:rPr lang="en-IT" sz="1400" dirty="0"/>
              <a:t>Pass the CASA Committee requirements</a:t>
            </a:r>
          </a:p>
          <a:p>
            <a:pPr marL="285750" indent="-285750">
              <a:buFont typeface="Wingdings" pitchFamily="2" charset="2"/>
              <a:buChar char="q"/>
            </a:pPr>
            <a:r>
              <a:rPr lang="en-IT" sz="1400" dirty="0"/>
              <a:t>Organize practically the event and communicate on social media</a:t>
            </a:r>
          </a:p>
        </p:txBody>
      </p:sp>
      <p:pic>
        <p:nvPicPr>
          <p:cNvPr id="1026" name="Picture 2" descr="737 imágenes, fotos de stock, objetos en 3D y vectores sobre Aperitif in  milan | Shutterstock">
            <a:extLst>
              <a:ext uri="{FF2B5EF4-FFF2-40B4-BE49-F238E27FC236}">
                <a16:creationId xmlns:a16="http://schemas.microsoft.com/office/drawing/2014/main" id="{8BFAC29B-9187-B715-1F47-CA50F8D631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2689" y="2233355"/>
            <a:ext cx="2184052" cy="145603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 plans to change name to 'Student Government Association' - The Daily  Orange">
            <a:extLst>
              <a:ext uri="{FF2B5EF4-FFF2-40B4-BE49-F238E27FC236}">
                <a16:creationId xmlns:a16="http://schemas.microsoft.com/office/drawing/2014/main" id="{B1D27190-AAFA-E687-0B48-3EB10BF29F0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1351" t="9711" r="15617" b="3057"/>
          <a:stretch/>
        </p:blipFill>
        <p:spPr bwMode="auto">
          <a:xfrm>
            <a:off x="1238880" y="2226500"/>
            <a:ext cx="2124981" cy="142770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The berserk pace of fintech investing outshines the global VC boom |  TechCrunch">
            <a:extLst>
              <a:ext uri="{FF2B5EF4-FFF2-40B4-BE49-F238E27FC236}">
                <a16:creationId xmlns:a16="http://schemas.microsoft.com/office/drawing/2014/main" id="{7C5E730E-46C3-4696-F9D8-913C4174C1B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27843" y="4232721"/>
            <a:ext cx="3558477" cy="140300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0519C46-E053-F683-3710-8450E1F6063E}"/>
              </a:ext>
            </a:extLst>
          </p:cNvPr>
          <p:cNvSpPr txBox="1"/>
          <p:nvPr/>
        </p:nvSpPr>
        <p:spPr>
          <a:xfrm>
            <a:off x="602899" y="3958342"/>
            <a:ext cx="6832222" cy="584775"/>
          </a:xfrm>
          <a:prstGeom prst="rect">
            <a:avLst/>
          </a:prstGeom>
          <a:noFill/>
        </p:spPr>
        <p:txBody>
          <a:bodyPr wrap="square" rtlCol="0">
            <a:spAutoFit/>
          </a:bodyPr>
          <a:lstStyle/>
          <a:p>
            <a:r>
              <a:rPr lang="en-IT" sz="1400" b="1" dirty="0"/>
              <a:t>This year flagship event : </a:t>
            </a:r>
            <a:r>
              <a:rPr lang="en-IT" sz="1400" b="1" dirty="0">
                <a:solidFill>
                  <a:srgbClr val="7030A0"/>
                </a:solidFill>
              </a:rPr>
              <a:t>Venture Capital &amp; Fintech, Investing in Fintech</a:t>
            </a:r>
          </a:p>
          <a:p>
            <a:endParaRPr lang="en-IT"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EF2158-C7BE-4F6C-8396-401694FA8AEE}"/>
              </a:ext>
            </a:extLst>
          </p:cNvPr>
          <p:cNvSpPr>
            <a:spLocks noGrp="1"/>
          </p:cNvSpPr>
          <p:nvPr>
            <p:ph type="title"/>
          </p:nvPr>
        </p:nvSpPr>
        <p:spPr/>
        <p:txBody>
          <a:bodyPr/>
          <a:lstStyle/>
          <a:p>
            <a:r>
              <a:rPr lang="es-ES" dirty="0"/>
              <a:t>Interviews: </a:t>
            </a:r>
            <a:r>
              <a:rPr lang="es-ES" dirty="0" err="1"/>
              <a:t>our</a:t>
            </a:r>
            <a:r>
              <a:rPr lang="es-ES" dirty="0"/>
              <a:t> </a:t>
            </a:r>
            <a:r>
              <a:rPr lang="es-ES" dirty="0" err="1"/>
              <a:t>Coffee</a:t>
            </a:r>
            <a:r>
              <a:rPr lang="es-ES" dirty="0"/>
              <a:t> Chats</a:t>
            </a:r>
          </a:p>
        </p:txBody>
      </p:sp>
      <p:sp>
        <p:nvSpPr>
          <p:cNvPr id="4" name="Date Placeholder 3">
            <a:extLst>
              <a:ext uri="{FF2B5EF4-FFF2-40B4-BE49-F238E27FC236}">
                <a16:creationId xmlns:a16="http://schemas.microsoft.com/office/drawing/2014/main" id="{9D79B189-4AF2-41E6-A68C-9D37C94BF00C}"/>
              </a:ext>
            </a:extLst>
          </p:cNvPr>
          <p:cNvSpPr>
            <a:spLocks noGrp="1"/>
          </p:cNvSpPr>
          <p:nvPr>
            <p:ph type="dt" sz="half" idx="10"/>
          </p:nvPr>
        </p:nvSpPr>
        <p:spPr/>
        <p:txBody>
          <a:bodyPr/>
          <a:lstStyle/>
          <a:p>
            <a:r>
              <a:rPr lang="en-US" dirty="0"/>
              <a:t>November 20, 2024</a:t>
            </a:r>
          </a:p>
        </p:txBody>
      </p:sp>
      <p:sp>
        <p:nvSpPr>
          <p:cNvPr id="5" name="Slide Number Placeholder 4">
            <a:extLst>
              <a:ext uri="{FF2B5EF4-FFF2-40B4-BE49-F238E27FC236}">
                <a16:creationId xmlns:a16="http://schemas.microsoft.com/office/drawing/2014/main" id="{50F3C8BF-BB6C-4D2A-993C-9D69A4E82F6A}"/>
              </a:ext>
            </a:extLst>
          </p:cNvPr>
          <p:cNvSpPr>
            <a:spLocks noGrp="1"/>
          </p:cNvSpPr>
          <p:nvPr>
            <p:ph type="sldNum" sz="quarter" idx="12"/>
          </p:nvPr>
        </p:nvSpPr>
        <p:spPr/>
        <p:txBody>
          <a:bodyPr/>
          <a:lstStyle/>
          <a:p>
            <a:fld id="{330EA680-D336-4FF7-8B7A-9848BB0A1C32}" type="slidenum">
              <a:rPr lang="en-US" smtClean="0"/>
              <a:pPr/>
              <a:t>7</a:t>
            </a:fld>
            <a:endParaRPr lang="en-US"/>
          </a:p>
        </p:txBody>
      </p:sp>
      <p:pic>
        <p:nvPicPr>
          <p:cNvPr id="11" name="Content Placeholder 10" descr="A person in a suit and tie&#10;&#10;Description automatically generated with medium confidence">
            <a:extLst>
              <a:ext uri="{FF2B5EF4-FFF2-40B4-BE49-F238E27FC236}">
                <a16:creationId xmlns:a16="http://schemas.microsoft.com/office/drawing/2014/main" id="{E17DBA9E-EEAA-49E4-AAAF-B75CB9DC4608}"/>
              </a:ext>
            </a:extLst>
          </p:cNvPr>
          <p:cNvPicPr>
            <a:picLocks noGrp="1" noChangeAspect="1"/>
          </p:cNvPicPr>
          <p:nvPr>
            <p:ph idx="14"/>
          </p:nvPr>
        </p:nvPicPr>
        <p:blipFill rotWithShape="1">
          <a:blip r:embed="rId2" cstate="email">
            <a:extLst>
              <a:ext uri="{28A0092B-C50C-407E-A947-70E740481C1C}">
                <a14:useLocalDpi xmlns:a14="http://schemas.microsoft.com/office/drawing/2010/main"/>
              </a:ext>
            </a:extLst>
          </a:blip>
          <a:srcRect/>
          <a:stretch/>
        </p:blipFill>
        <p:spPr>
          <a:xfrm>
            <a:off x="5904490" y="2007776"/>
            <a:ext cx="1260000" cy="1260000"/>
          </a:xfrm>
        </p:spPr>
      </p:pic>
      <p:sp>
        <p:nvSpPr>
          <p:cNvPr id="50" name="Content Placeholder 49">
            <a:extLst>
              <a:ext uri="{FF2B5EF4-FFF2-40B4-BE49-F238E27FC236}">
                <a16:creationId xmlns:a16="http://schemas.microsoft.com/office/drawing/2014/main" id="{5586C2F5-C3AE-4F6C-BBB5-85A4A841C339}"/>
              </a:ext>
            </a:extLst>
          </p:cNvPr>
          <p:cNvSpPr>
            <a:spLocks noGrp="1"/>
          </p:cNvSpPr>
          <p:nvPr>
            <p:ph idx="1"/>
          </p:nvPr>
        </p:nvSpPr>
        <p:spPr/>
        <p:txBody>
          <a:bodyPr>
            <a:normAutofit/>
          </a:bodyPr>
          <a:lstStyle/>
          <a:p>
            <a:r>
              <a:rPr lang="es-ES" sz="1500" dirty="0" err="1">
                <a:solidFill>
                  <a:schemeClr val="tx2">
                    <a:lumMod val="50000"/>
                  </a:schemeClr>
                </a:solidFill>
              </a:rPr>
              <a:t>Some</a:t>
            </a:r>
            <a:r>
              <a:rPr lang="es-ES" sz="1500" dirty="0">
                <a:solidFill>
                  <a:schemeClr val="tx2">
                    <a:lumMod val="50000"/>
                  </a:schemeClr>
                </a:solidFill>
              </a:rPr>
              <a:t> </a:t>
            </a:r>
            <a:r>
              <a:rPr lang="es-ES" sz="1500" dirty="0" err="1">
                <a:solidFill>
                  <a:schemeClr val="tx2">
                    <a:lumMod val="50000"/>
                  </a:schemeClr>
                </a:solidFill>
              </a:rPr>
              <a:t>of</a:t>
            </a:r>
            <a:r>
              <a:rPr lang="es-ES" sz="1500" dirty="0">
                <a:solidFill>
                  <a:schemeClr val="tx2">
                    <a:lumMod val="50000"/>
                  </a:schemeClr>
                </a:solidFill>
              </a:rPr>
              <a:t> </a:t>
            </a:r>
            <a:r>
              <a:rPr lang="es-ES" sz="1500" dirty="0" err="1">
                <a:solidFill>
                  <a:schemeClr val="tx2">
                    <a:lumMod val="50000"/>
                  </a:schemeClr>
                </a:solidFill>
              </a:rPr>
              <a:t>our</a:t>
            </a:r>
            <a:r>
              <a:rPr lang="es-ES" sz="1500" dirty="0">
                <a:solidFill>
                  <a:schemeClr val="tx2">
                    <a:lumMod val="50000"/>
                  </a:schemeClr>
                </a:solidFill>
              </a:rPr>
              <a:t> interviews </a:t>
            </a:r>
            <a:r>
              <a:rPr lang="es-ES" sz="1500" dirty="0" err="1">
                <a:solidFill>
                  <a:schemeClr val="tx2">
                    <a:lumMod val="50000"/>
                  </a:schemeClr>
                </a:solidFill>
              </a:rPr>
              <a:t>with</a:t>
            </a:r>
            <a:r>
              <a:rPr lang="es-ES" sz="1500" dirty="0">
                <a:solidFill>
                  <a:schemeClr val="tx2">
                    <a:lumMod val="50000"/>
                  </a:schemeClr>
                </a:solidFill>
              </a:rPr>
              <a:t> </a:t>
            </a:r>
            <a:r>
              <a:rPr lang="es-ES" sz="1500" dirty="0" err="1">
                <a:solidFill>
                  <a:schemeClr val="bg1">
                    <a:lumMod val="60000"/>
                    <a:lumOff val="40000"/>
                  </a:schemeClr>
                </a:solidFill>
              </a:rPr>
              <a:t>industry</a:t>
            </a:r>
            <a:r>
              <a:rPr lang="es-ES" sz="1500" dirty="0">
                <a:solidFill>
                  <a:schemeClr val="bg1">
                    <a:lumMod val="60000"/>
                    <a:lumOff val="40000"/>
                  </a:schemeClr>
                </a:solidFill>
              </a:rPr>
              <a:t> </a:t>
            </a:r>
            <a:r>
              <a:rPr lang="es-ES" sz="1500" dirty="0" err="1">
                <a:solidFill>
                  <a:schemeClr val="bg1">
                    <a:lumMod val="60000"/>
                    <a:lumOff val="40000"/>
                  </a:schemeClr>
                </a:solidFill>
              </a:rPr>
              <a:t>professionals</a:t>
            </a:r>
            <a:r>
              <a:rPr lang="es-ES" sz="1500" dirty="0">
                <a:solidFill>
                  <a:schemeClr val="bg1">
                    <a:lumMod val="60000"/>
                    <a:lumOff val="40000"/>
                  </a:schemeClr>
                </a:solidFill>
              </a:rPr>
              <a:t> </a:t>
            </a:r>
            <a:r>
              <a:rPr lang="es-ES" sz="1500" dirty="0" err="1">
                <a:solidFill>
                  <a:schemeClr val="tx2">
                    <a:lumMod val="50000"/>
                  </a:schemeClr>
                </a:solidFill>
              </a:rPr>
              <a:t>available</a:t>
            </a:r>
            <a:r>
              <a:rPr lang="es-ES" sz="1500" dirty="0">
                <a:solidFill>
                  <a:schemeClr val="tx2">
                    <a:lumMod val="50000"/>
                  </a:schemeClr>
                </a:solidFill>
              </a:rPr>
              <a:t> </a:t>
            </a:r>
            <a:r>
              <a:rPr lang="es-ES" sz="1500" dirty="0" err="1">
                <a:solidFill>
                  <a:schemeClr val="tx2">
                    <a:lumMod val="50000"/>
                  </a:schemeClr>
                </a:solidFill>
              </a:rPr>
              <a:t>on</a:t>
            </a:r>
            <a:r>
              <a:rPr lang="es-ES" sz="1500" dirty="0">
                <a:solidFill>
                  <a:schemeClr val="tx2">
                    <a:lumMod val="50000"/>
                  </a:schemeClr>
                </a:solidFill>
              </a:rPr>
              <a:t> </a:t>
            </a:r>
            <a:r>
              <a:rPr lang="es-ES" sz="1500" dirty="0" err="1">
                <a:solidFill>
                  <a:schemeClr val="tx2">
                    <a:lumMod val="50000"/>
                  </a:schemeClr>
                </a:solidFill>
              </a:rPr>
              <a:t>our</a:t>
            </a:r>
            <a:r>
              <a:rPr lang="es-ES" sz="1500" dirty="0">
                <a:solidFill>
                  <a:schemeClr val="tx2">
                    <a:lumMod val="50000"/>
                  </a:schemeClr>
                </a:solidFill>
              </a:rPr>
              <a:t> </a:t>
            </a:r>
            <a:r>
              <a:rPr lang="es-ES" sz="1500" dirty="0" err="1">
                <a:solidFill>
                  <a:schemeClr val="tx2">
                    <a:lumMod val="50000"/>
                  </a:schemeClr>
                </a:solidFill>
              </a:rPr>
              <a:t>website</a:t>
            </a:r>
            <a:r>
              <a:rPr lang="es-ES" sz="1500" dirty="0">
                <a:solidFill>
                  <a:schemeClr val="tx2">
                    <a:lumMod val="50000"/>
                  </a:schemeClr>
                </a:solidFill>
              </a:rPr>
              <a:t>:</a:t>
            </a:r>
          </a:p>
        </p:txBody>
      </p:sp>
      <p:grpSp>
        <p:nvGrpSpPr>
          <p:cNvPr id="20" name="Group 19">
            <a:extLst>
              <a:ext uri="{FF2B5EF4-FFF2-40B4-BE49-F238E27FC236}">
                <a16:creationId xmlns:a16="http://schemas.microsoft.com/office/drawing/2014/main" id="{96C3A1DD-E9E4-C0FA-D050-754C480B1264}"/>
              </a:ext>
            </a:extLst>
          </p:cNvPr>
          <p:cNvGrpSpPr/>
          <p:nvPr/>
        </p:nvGrpSpPr>
        <p:grpSpPr>
          <a:xfrm>
            <a:off x="1941589" y="2009634"/>
            <a:ext cx="1612943" cy="1705228"/>
            <a:chOff x="671924" y="2046414"/>
            <a:chExt cx="1612943" cy="1705228"/>
          </a:xfrm>
        </p:grpSpPr>
        <p:pic>
          <p:nvPicPr>
            <p:cNvPr id="15" name="Picture 14" descr="A person sitting at a desk&#10;&#10;Description automatically generated with medium confidence">
              <a:extLst>
                <a:ext uri="{FF2B5EF4-FFF2-40B4-BE49-F238E27FC236}">
                  <a16:creationId xmlns:a16="http://schemas.microsoft.com/office/drawing/2014/main" id="{69B4D6AF-B274-4F8A-9793-82EF1C9553F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806"/>
            <a:stretch/>
          </p:blipFill>
          <p:spPr>
            <a:xfrm>
              <a:off x="848396" y="2046414"/>
              <a:ext cx="1260000" cy="1260000"/>
            </a:xfrm>
            <a:prstGeom prst="rect">
              <a:avLst/>
            </a:prstGeom>
          </p:spPr>
        </p:pic>
        <p:sp>
          <p:nvSpPr>
            <p:cNvPr id="51" name="CasellaDiTesto 23">
              <a:extLst>
                <a:ext uri="{FF2B5EF4-FFF2-40B4-BE49-F238E27FC236}">
                  <a16:creationId xmlns:a16="http://schemas.microsoft.com/office/drawing/2014/main" id="{9FBFD12D-587E-4CA1-9BA7-CB0EF1BA596C}"/>
                </a:ext>
              </a:extLst>
            </p:cNvPr>
            <p:cNvSpPr txBox="1"/>
            <p:nvPr/>
          </p:nvSpPr>
          <p:spPr>
            <a:xfrm>
              <a:off x="671924" y="3351532"/>
              <a:ext cx="1612943" cy="400110"/>
            </a:xfrm>
            <a:prstGeom prst="rect">
              <a:avLst/>
            </a:prstGeom>
            <a:noFill/>
            <a:ln>
              <a:noFill/>
            </a:ln>
          </p:spPr>
          <p:txBody>
            <a:bodyPr wrap="square" rtlCol="0">
              <a:spAutoFit/>
            </a:bodyPr>
            <a:lstStyle/>
            <a:p>
              <a:pPr algn="ctr"/>
              <a:r>
                <a:rPr lang="en-US" sz="1000" b="1" dirty="0" err="1">
                  <a:solidFill>
                    <a:schemeClr val="accent3">
                      <a:lumMod val="75000"/>
                    </a:schemeClr>
                  </a:solidFill>
                  <a:latin typeface="Arial" panose="020B0604020202020204" pitchFamily="34" charset="0"/>
                  <a:cs typeface="Arial" panose="020B0604020202020204" pitchFamily="34" charset="0"/>
                </a:rPr>
                <a:t>Corrado</a:t>
              </a:r>
              <a:r>
                <a:rPr lang="en-US" sz="1000" dirty="0">
                  <a:solidFill>
                    <a:schemeClr val="accent3">
                      <a:lumMod val="75000"/>
                    </a:schemeClr>
                  </a:solidFill>
                  <a:latin typeface="Arial" panose="020B0604020202020204" pitchFamily="34" charset="0"/>
                  <a:cs typeface="Arial" panose="020B0604020202020204" pitchFamily="34" charset="0"/>
                </a:rPr>
                <a:t> </a:t>
              </a:r>
              <a:r>
                <a:rPr lang="en-US" sz="1000" b="1" dirty="0" err="1">
                  <a:solidFill>
                    <a:schemeClr val="accent3">
                      <a:lumMod val="75000"/>
                    </a:schemeClr>
                  </a:solidFill>
                  <a:latin typeface="Arial" panose="020B0604020202020204" pitchFamily="34" charset="0"/>
                  <a:cs typeface="Arial" panose="020B0604020202020204" pitchFamily="34" charset="0"/>
                </a:rPr>
                <a:t>Passera</a:t>
              </a:r>
              <a:endParaRPr lang="en-US" sz="1000" b="1" dirty="0">
                <a:solidFill>
                  <a:schemeClr val="accent3">
                    <a:lumMod val="75000"/>
                  </a:schemeClr>
                </a:solidFill>
                <a:latin typeface="Arial" panose="020B0604020202020204" pitchFamily="34" charset="0"/>
                <a:cs typeface="Arial" panose="020B0604020202020204" pitchFamily="34" charset="0"/>
              </a:endParaRPr>
            </a:p>
            <a:p>
              <a:pPr algn="ctr"/>
              <a:r>
                <a:rPr lang="en-US" sz="1000" b="1" dirty="0" err="1">
                  <a:latin typeface="Arial" panose="020B0604020202020204" pitchFamily="34" charset="0"/>
                  <a:cs typeface="Arial" panose="020B0604020202020204" pitchFamily="34" charset="0"/>
                </a:rPr>
                <a:t>Illimity</a:t>
              </a:r>
              <a:endParaRPr lang="en-US" sz="1000" b="1" dirty="0">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FB3B1FDA-03D1-6310-BEA0-0B8B0B861041}"/>
              </a:ext>
            </a:extLst>
          </p:cNvPr>
          <p:cNvGrpSpPr/>
          <p:nvPr/>
        </p:nvGrpSpPr>
        <p:grpSpPr>
          <a:xfrm>
            <a:off x="3173553" y="3888606"/>
            <a:ext cx="1612943" cy="1714656"/>
            <a:chOff x="1931924" y="2036986"/>
            <a:chExt cx="1612943" cy="1714656"/>
          </a:xfrm>
        </p:grpSpPr>
        <p:pic>
          <p:nvPicPr>
            <p:cNvPr id="23" name="Picture 22" descr="A person smiling for the camera&#10;&#10;Description automatically generated with medium confidence">
              <a:extLst>
                <a:ext uri="{FF2B5EF4-FFF2-40B4-BE49-F238E27FC236}">
                  <a16:creationId xmlns:a16="http://schemas.microsoft.com/office/drawing/2014/main" id="{13D34205-6E55-4A6D-852F-ACB8E5984F3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108396" y="2036986"/>
              <a:ext cx="1260000" cy="1260000"/>
            </a:xfrm>
            <a:prstGeom prst="rect">
              <a:avLst/>
            </a:prstGeom>
          </p:spPr>
        </p:pic>
        <p:sp>
          <p:nvSpPr>
            <p:cNvPr id="52" name="CasellaDiTesto 23">
              <a:extLst>
                <a:ext uri="{FF2B5EF4-FFF2-40B4-BE49-F238E27FC236}">
                  <a16:creationId xmlns:a16="http://schemas.microsoft.com/office/drawing/2014/main" id="{D698457A-D8D3-4A22-A81B-16FA9D684953}"/>
                </a:ext>
              </a:extLst>
            </p:cNvPr>
            <p:cNvSpPr txBox="1"/>
            <p:nvPr/>
          </p:nvSpPr>
          <p:spPr>
            <a:xfrm>
              <a:off x="1931924" y="3351532"/>
              <a:ext cx="1612943" cy="400110"/>
            </a:xfrm>
            <a:prstGeom prst="rect">
              <a:avLst/>
            </a:prstGeom>
            <a:noFill/>
            <a:ln>
              <a:noFill/>
            </a:ln>
          </p:spPr>
          <p:txBody>
            <a:bodyPr wrap="square" rtlCol="0">
              <a:spAutoFit/>
            </a:bodyPr>
            <a:lstStyle/>
            <a:p>
              <a:pPr algn="ctr"/>
              <a:r>
                <a:rPr lang="en-US" sz="1000" b="1" dirty="0">
                  <a:solidFill>
                    <a:schemeClr val="accent3">
                      <a:lumMod val="75000"/>
                    </a:schemeClr>
                  </a:solidFill>
                  <a:latin typeface="Arial" panose="020B0604020202020204" pitchFamily="34" charset="0"/>
                  <a:cs typeface="Arial" panose="020B0604020202020204" pitchFamily="34" charset="0"/>
                </a:rPr>
                <a:t>Giacomo </a:t>
              </a:r>
              <a:r>
                <a:rPr lang="en-US" sz="1000" b="1" dirty="0" err="1">
                  <a:solidFill>
                    <a:schemeClr val="accent3">
                      <a:lumMod val="75000"/>
                    </a:schemeClr>
                  </a:solidFill>
                  <a:latin typeface="Arial" panose="020B0604020202020204" pitchFamily="34" charset="0"/>
                  <a:cs typeface="Arial" panose="020B0604020202020204" pitchFamily="34" charset="0"/>
                </a:rPr>
                <a:t>Zaninetta</a:t>
              </a:r>
              <a:endParaRPr lang="en-US" sz="1000" b="1" dirty="0">
                <a:solidFill>
                  <a:schemeClr val="accent3">
                    <a:lumMod val="75000"/>
                  </a:schemeClr>
                </a:solidFill>
                <a:latin typeface="Arial" panose="020B0604020202020204" pitchFamily="34" charset="0"/>
                <a:cs typeface="Arial" panose="020B0604020202020204" pitchFamily="34" charset="0"/>
              </a:endParaRPr>
            </a:p>
            <a:p>
              <a:pPr algn="ctr"/>
              <a:r>
                <a:rPr lang="en-US" sz="1000" b="1" dirty="0" err="1">
                  <a:latin typeface="Arial" panose="020B0604020202020204" pitchFamily="34" charset="0"/>
                  <a:cs typeface="Arial" panose="020B0604020202020204" pitchFamily="34" charset="0"/>
                </a:rPr>
                <a:t>Agicap</a:t>
              </a:r>
              <a:endParaRPr lang="en-US" sz="1000" b="1" dirty="0">
                <a:latin typeface="Arial" panose="020B0604020202020204" pitchFamily="34" charset="0"/>
                <a:cs typeface="Arial" panose="020B0604020202020204" pitchFamily="34" charset="0"/>
              </a:endParaRPr>
            </a:p>
          </p:txBody>
        </p:sp>
      </p:grpSp>
      <p:grpSp>
        <p:nvGrpSpPr>
          <p:cNvPr id="16" name="Group 15">
            <a:extLst>
              <a:ext uri="{FF2B5EF4-FFF2-40B4-BE49-F238E27FC236}">
                <a16:creationId xmlns:a16="http://schemas.microsoft.com/office/drawing/2014/main" id="{6D62FB67-3B09-EA52-E5D8-CAB7D9627777}"/>
              </a:ext>
            </a:extLst>
          </p:cNvPr>
          <p:cNvGrpSpPr/>
          <p:nvPr/>
        </p:nvGrpSpPr>
        <p:grpSpPr>
          <a:xfrm>
            <a:off x="4387520" y="3885521"/>
            <a:ext cx="1612943" cy="1714656"/>
            <a:chOff x="3203723" y="2032265"/>
            <a:chExt cx="1612943" cy="1714656"/>
          </a:xfrm>
        </p:grpSpPr>
        <p:pic>
          <p:nvPicPr>
            <p:cNvPr id="19" name="Picture 18" descr="A picture containing person, wall&#10;&#10;Description automatically generated">
              <a:extLst>
                <a:ext uri="{FF2B5EF4-FFF2-40B4-BE49-F238E27FC236}">
                  <a16:creationId xmlns:a16="http://schemas.microsoft.com/office/drawing/2014/main" id="{304FD002-4FB2-4B1F-A792-DE509DEB1D7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380195" y="2032265"/>
              <a:ext cx="1260000" cy="1260000"/>
            </a:xfrm>
            <a:prstGeom prst="rect">
              <a:avLst/>
            </a:prstGeom>
          </p:spPr>
        </p:pic>
        <p:sp>
          <p:nvSpPr>
            <p:cNvPr id="53" name="CasellaDiTesto 23">
              <a:extLst>
                <a:ext uri="{FF2B5EF4-FFF2-40B4-BE49-F238E27FC236}">
                  <a16:creationId xmlns:a16="http://schemas.microsoft.com/office/drawing/2014/main" id="{8AD89C58-0D44-4093-A9F3-8B3853B010B5}"/>
                </a:ext>
              </a:extLst>
            </p:cNvPr>
            <p:cNvSpPr txBox="1"/>
            <p:nvPr/>
          </p:nvSpPr>
          <p:spPr>
            <a:xfrm>
              <a:off x="3203723" y="3346811"/>
              <a:ext cx="1612943" cy="400110"/>
            </a:xfrm>
            <a:prstGeom prst="rect">
              <a:avLst/>
            </a:prstGeom>
            <a:noFill/>
            <a:ln>
              <a:noFill/>
            </a:ln>
          </p:spPr>
          <p:txBody>
            <a:bodyPr wrap="square" rtlCol="0">
              <a:spAutoFit/>
            </a:bodyPr>
            <a:lstStyle/>
            <a:p>
              <a:pPr algn="ctr"/>
              <a:r>
                <a:rPr lang="en-US" sz="1000" b="1" dirty="0">
                  <a:solidFill>
                    <a:schemeClr val="accent3">
                      <a:lumMod val="75000"/>
                    </a:schemeClr>
                  </a:solidFill>
                  <a:latin typeface="Arial" panose="020B0604020202020204" pitchFamily="34" charset="0"/>
                  <a:cs typeface="Arial" panose="020B0604020202020204" pitchFamily="34" charset="0"/>
                </a:rPr>
                <a:t>Elena Lavezzi</a:t>
              </a:r>
            </a:p>
            <a:p>
              <a:pPr algn="ctr"/>
              <a:r>
                <a:rPr lang="en-US" sz="1000" b="1" dirty="0" err="1">
                  <a:latin typeface="Arial" panose="020B0604020202020204" pitchFamily="34" charset="0"/>
                  <a:cs typeface="Arial" panose="020B0604020202020204" pitchFamily="34" charset="0"/>
                </a:rPr>
                <a:t>Revolut</a:t>
              </a:r>
              <a:endParaRPr lang="en-US" sz="1000" b="1" dirty="0">
                <a:latin typeface="Arial" panose="020B0604020202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C6518647-BDB8-A317-C9D1-F0C47D438587}"/>
              </a:ext>
            </a:extLst>
          </p:cNvPr>
          <p:cNvGrpSpPr/>
          <p:nvPr/>
        </p:nvGrpSpPr>
        <p:grpSpPr>
          <a:xfrm>
            <a:off x="702215" y="3889169"/>
            <a:ext cx="1612943" cy="1720095"/>
            <a:chOff x="4443403" y="2032265"/>
            <a:chExt cx="1612943" cy="1720095"/>
          </a:xfrm>
        </p:grpSpPr>
        <p:pic>
          <p:nvPicPr>
            <p:cNvPr id="38" name="Picture 37" descr="A person smiling for the camera&#10;&#10;Description automatically generated with medium confidence">
              <a:extLst>
                <a:ext uri="{FF2B5EF4-FFF2-40B4-BE49-F238E27FC236}">
                  <a16:creationId xmlns:a16="http://schemas.microsoft.com/office/drawing/2014/main" id="{7BCFBF58-1167-4B7C-88C5-91A78AE6E6E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r="-808"/>
            <a:stretch/>
          </p:blipFill>
          <p:spPr>
            <a:xfrm>
              <a:off x="4617743" y="2032265"/>
              <a:ext cx="1260000" cy="1260000"/>
            </a:xfrm>
            <a:prstGeom prst="rect">
              <a:avLst/>
            </a:prstGeom>
          </p:spPr>
        </p:pic>
        <p:sp>
          <p:nvSpPr>
            <p:cNvPr id="54" name="CasellaDiTesto 23">
              <a:extLst>
                <a:ext uri="{FF2B5EF4-FFF2-40B4-BE49-F238E27FC236}">
                  <a16:creationId xmlns:a16="http://schemas.microsoft.com/office/drawing/2014/main" id="{CE083A9D-3E18-4ADE-A3DF-7C441B5FC403}"/>
                </a:ext>
              </a:extLst>
            </p:cNvPr>
            <p:cNvSpPr txBox="1"/>
            <p:nvPr/>
          </p:nvSpPr>
          <p:spPr>
            <a:xfrm>
              <a:off x="4443403" y="3352250"/>
              <a:ext cx="1612943" cy="400110"/>
            </a:xfrm>
            <a:prstGeom prst="rect">
              <a:avLst/>
            </a:prstGeom>
            <a:noFill/>
            <a:ln>
              <a:noFill/>
            </a:ln>
          </p:spPr>
          <p:txBody>
            <a:bodyPr wrap="square" rtlCol="0">
              <a:spAutoFit/>
            </a:bodyPr>
            <a:lstStyle/>
            <a:p>
              <a:pPr algn="ctr"/>
              <a:r>
                <a:rPr lang="en-US" sz="1000" b="1" dirty="0" err="1">
                  <a:solidFill>
                    <a:schemeClr val="accent3">
                      <a:lumMod val="75000"/>
                    </a:schemeClr>
                  </a:solidFill>
                  <a:latin typeface="Arial" panose="020B0604020202020204" pitchFamily="34" charset="0"/>
                  <a:cs typeface="Arial" panose="020B0604020202020204" pitchFamily="34" charset="0"/>
                </a:rPr>
                <a:t>Edoardo</a:t>
              </a:r>
              <a:r>
                <a:rPr lang="en-US" sz="1000" b="1" dirty="0">
                  <a:solidFill>
                    <a:schemeClr val="accent3">
                      <a:lumMod val="75000"/>
                    </a:schemeClr>
                  </a:solidFill>
                  <a:latin typeface="Arial" panose="020B0604020202020204" pitchFamily="34" charset="0"/>
                  <a:cs typeface="Arial" panose="020B0604020202020204" pitchFamily="34" charset="0"/>
                </a:rPr>
                <a:t> Volta</a:t>
              </a:r>
            </a:p>
            <a:p>
              <a:pPr algn="ctr"/>
              <a:r>
                <a:rPr lang="en-US" sz="1000" b="1" dirty="0">
                  <a:latin typeface="Arial" panose="020B0604020202020204" pitchFamily="34" charset="0"/>
                  <a:cs typeface="Arial" panose="020B0604020202020204" pitchFamily="34" charset="0"/>
                </a:rPr>
                <a:t>Mastercard</a:t>
              </a:r>
            </a:p>
          </p:txBody>
        </p:sp>
      </p:grpSp>
      <p:sp>
        <p:nvSpPr>
          <p:cNvPr id="56" name="CasellaDiTesto 23">
            <a:extLst>
              <a:ext uri="{FF2B5EF4-FFF2-40B4-BE49-F238E27FC236}">
                <a16:creationId xmlns:a16="http://schemas.microsoft.com/office/drawing/2014/main" id="{8629904A-63FA-4256-9088-8BAF4F979B16}"/>
              </a:ext>
            </a:extLst>
          </p:cNvPr>
          <p:cNvSpPr txBox="1"/>
          <p:nvPr/>
        </p:nvSpPr>
        <p:spPr>
          <a:xfrm>
            <a:off x="5786794" y="3349090"/>
            <a:ext cx="1612943" cy="400110"/>
          </a:xfrm>
          <a:prstGeom prst="rect">
            <a:avLst/>
          </a:prstGeom>
          <a:noFill/>
          <a:ln>
            <a:noFill/>
          </a:ln>
        </p:spPr>
        <p:txBody>
          <a:bodyPr wrap="square" rtlCol="0">
            <a:spAutoFit/>
          </a:bodyPr>
          <a:lstStyle/>
          <a:p>
            <a:pPr algn="ctr"/>
            <a:r>
              <a:rPr lang="en-US" sz="1000" b="1" dirty="0">
                <a:solidFill>
                  <a:schemeClr val="accent3">
                    <a:lumMod val="75000"/>
                  </a:schemeClr>
                </a:solidFill>
                <a:latin typeface="Arial" panose="020B0604020202020204" pitchFamily="34" charset="0"/>
                <a:cs typeface="Arial" panose="020B0604020202020204" pitchFamily="34" charset="0"/>
              </a:rPr>
              <a:t>Andrea </a:t>
            </a:r>
            <a:r>
              <a:rPr lang="en-US" sz="1000" b="1" dirty="0" err="1">
                <a:solidFill>
                  <a:schemeClr val="accent3">
                    <a:lumMod val="75000"/>
                  </a:schemeClr>
                </a:solidFill>
                <a:latin typeface="Arial" panose="020B0604020202020204" pitchFamily="34" charset="0"/>
                <a:cs typeface="Arial" panose="020B0604020202020204" pitchFamily="34" charset="0"/>
              </a:rPr>
              <a:t>Pietrini</a:t>
            </a:r>
            <a:endParaRPr lang="en-US" sz="1000" b="1" dirty="0">
              <a:solidFill>
                <a:schemeClr val="accent3">
                  <a:lumMod val="75000"/>
                </a:schemeClr>
              </a:solidFill>
              <a:latin typeface="Arial" panose="020B0604020202020204" pitchFamily="34" charset="0"/>
              <a:cs typeface="Arial" panose="020B0604020202020204" pitchFamily="34" charset="0"/>
            </a:endParaRPr>
          </a:p>
          <a:p>
            <a:pPr algn="ctr"/>
            <a:r>
              <a:rPr lang="en-US" sz="1000" b="1" dirty="0" err="1">
                <a:latin typeface="Arial" panose="020B0604020202020204" pitchFamily="34" charset="0"/>
                <a:cs typeface="Arial" panose="020B0604020202020204" pitchFamily="34" charset="0"/>
              </a:rPr>
              <a:t>YourGroup</a:t>
            </a:r>
            <a:endParaRPr lang="en-US" sz="1000" b="1" dirty="0">
              <a:latin typeface="Arial" panose="020B0604020202020204" pitchFamily="34" charset="0"/>
              <a:cs typeface="Arial" panose="020B0604020202020204" pitchFamily="34" charset="0"/>
            </a:endParaRPr>
          </a:p>
        </p:txBody>
      </p:sp>
      <p:grpSp>
        <p:nvGrpSpPr>
          <p:cNvPr id="12" name="Group 11">
            <a:extLst>
              <a:ext uri="{FF2B5EF4-FFF2-40B4-BE49-F238E27FC236}">
                <a16:creationId xmlns:a16="http://schemas.microsoft.com/office/drawing/2014/main" id="{E00C654E-CA12-00A8-413B-EF80DAF4D304}"/>
              </a:ext>
            </a:extLst>
          </p:cNvPr>
          <p:cNvGrpSpPr/>
          <p:nvPr/>
        </p:nvGrpSpPr>
        <p:grpSpPr>
          <a:xfrm>
            <a:off x="5656621" y="3885521"/>
            <a:ext cx="1612943" cy="1720740"/>
            <a:chOff x="6945722" y="2030902"/>
            <a:chExt cx="1612943" cy="1720740"/>
          </a:xfrm>
        </p:grpSpPr>
        <p:pic>
          <p:nvPicPr>
            <p:cNvPr id="17" name="Picture 16" descr="A person in a suit with his arms crossed&#10;&#10;Description automatically generated with medium confidence">
              <a:extLst>
                <a:ext uri="{FF2B5EF4-FFF2-40B4-BE49-F238E27FC236}">
                  <a16:creationId xmlns:a16="http://schemas.microsoft.com/office/drawing/2014/main" id="{B4560F69-CA69-4480-945F-FFA235243E65}"/>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t="-122"/>
            <a:stretch/>
          </p:blipFill>
          <p:spPr>
            <a:xfrm>
              <a:off x="7127176" y="2030902"/>
              <a:ext cx="1260000" cy="1260000"/>
            </a:xfrm>
            <a:prstGeom prst="rect">
              <a:avLst/>
            </a:prstGeom>
          </p:spPr>
        </p:pic>
        <p:sp>
          <p:nvSpPr>
            <p:cNvPr id="57" name="CasellaDiTesto 23">
              <a:extLst>
                <a:ext uri="{FF2B5EF4-FFF2-40B4-BE49-F238E27FC236}">
                  <a16:creationId xmlns:a16="http://schemas.microsoft.com/office/drawing/2014/main" id="{683B6E4A-3184-46B6-903E-ABEDFAACD956}"/>
                </a:ext>
              </a:extLst>
            </p:cNvPr>
            <p:cNvSpPr txBox="1"/>
            <p:nvPr/>
          </p:nvSpPr>
          <p:spPr>
            <a:xfrm>
              <a:off x="6945722" y="3351532"/>
              <a:ext cx="1612943" cy="400110"/>
            </a:xfrm>
            <a:prstGeom prst="rect">
              <a:avLst/>
            </a:prstGeom>
            <a:noFill/>
            <a:ln>
              <a:noFill/>
            </a:ln>
          </p:spPr>
          <p:txBody>
            <a:bodyPr wrap="square" rtlCol="0">
              <a:spAutoFit/>
            </a:bodyPr>
            <a:lstStyle/>
            <a:p>
              <a:pPr algn="ctr"/>
              <a:r>
                <a:rPr lang="en-US" sz="1000" b="1" dirty="0">
                  <a:solidFill>
                    <a:schemeClr val="accent3">
                      <a:lumMod val="75000"/>
                    </a:schemeClr>
                  </a:solidFill>
                  <a:latin typeface="Arial" panose="020B0604020202020204" pitchFamily="34" charset="0"/>
                  <a:cs typeface="Arial" panose="020B0604020202020204" pitchFamily="34" charset="0"/>
                </a:rPr>
                <a:t>Donato </a:t>
              </a:r>
              <a:r>
                <a:rPr lang="en-US" sz="1000" b="1" dirty="0" err="1">
                  <a:solidFill>
                    <a:schemeClr val="accent3">
                      <a:lumMod val="75000"/>
                    </a:schemeClr>
                  </a:solidFill>
                  <a:latin typeface="Arial" panose="020B0604020202020204" pitchFamily="34" charset="0"/>
                  <a:cs typeface="Arial" panose="020B0604020202020204" pitchFamily="34" charset="0"/>
                </a:rPr>
                <a:t>Vadruccio</a:t>
              </a:r>
              <a:endParaRPr lang="en-US" sz="1000" b="1" dirty="0">
                <a:solidFill>
                  <a:schemeClr val="accent3">
                    <a:lumMod val="75000"/>
                  </a:schemeClr>
                </a:solidFill>
                <a:latin typeface="Arial" panose="020B0604020202020204" pitchFamily="34" charset="0"/>
                <a:cs typeface="Arial" panose="020B0604020202020204" pitchFamily="34" charset="0"/>
              </a:endParaRPr>
            </a:p>
            <a:p>
              <a:pPr algn="ctr"/>
              <a:r>
                <a:rPr lang="en-US" sz="1000" b="1" dirty="0" err="1">
                  <a:latin typeface="Arial" panose="020B0604020202020204" pitchFamily="34" charset="0"/>
                  <a:cs typeface="Arial" panose="020B0604020202020204" pitchFamily="34" charset="0"/>
                </a:rPr>
                <a:t>Plick</a:t>
              </a:r>
              <a:r>
                <a:rPr lang="en-US" sz="1000" b="1" dirty="0">
                  <a:latin typeface="Arial" panose="020B0604020202020204" pitchFamily="34" charset="0"/>
                  <a:cs typeface="Arial" panose="020B0604020202020204" pitchFamily="34" charset="0"/>
                </a:rPr>
                <a:t> (</a:t>
              </a:r>
              <a:r>
                <a:rPr lang="en-US" sz="1000" b="1" dirty="0" err="1">
                  <a:latin typeface="Arial" panose="020B0604020202020204" pitchFamily="34" charset="0"/>
                  <a:cs typeface="Arial" panose="020B0604020202020204" pitchFamily="34" charset="0"/>
                </a:rPr>
                <a:t>PayDo</a:t>
              </a:r>
              <a:r>
                <a:rPr lang="en-US" sz="1000" b="1" dirty="0">
                  <a:latin typeface="Arial" panose="020B0604020202020204" pitchFamily="34" charset="0"/>
                  <a:cs typeface="Arial" panose="020B0604020202020204" pitchFamily="34" charset="0"/>
                </a:rPr>
                <a:t>)</a:t>
              </a:r>
            </a:p>
          </p:txBody>
        </p:sp>
      </p:grpSp>
      <p:grpSp>
        <p:nvGrpSpPr>
          <p:cNvPr id="3" name="Group 2">
            <a:extLst>
              <a:ext uri="{FF2B5EF4-FFF2-40B4-BE49-F238E27FC236}">
                <a16:creationId xmlns:a16="http://schemas.microsoft.com/office/drawing/2014/main" id="{7AC3F394-C8BA-A6B9-4086-2346831D7F5F}"/>
              </a:ext>
            </a:extLst>
          </p:cNvPr>
          <p:cNvGrpSpPr/>
          <p:nvPr/>
        </p:nvGrpSpPr>
        <p:grpSpPr>
          <a:xfrm>
            <a:off x="4376002" y="2005507"/>
            <a:ext cx="1612943" cy="1737096"/>
            <a:chOff x="579908" y="3851173"/>
            <a:chExt cx="1612943" cy="1737096"/>
          </a:xfrm>
        </p:grpSpPr>
        <p:pic>
          <p:nvPicPr>
            <p:cNvPr id="21" name="Picture 20" descr="A person sitting at a desk with a computer&#10;&#10;Description automatically generated with low confidence">
              <a:extLst>
                <a:ext uri="{FF2B5EF4-FFF2-40B4-BE49-F238E27FC236}">
                  <a16:creationId xmlns:a16="http://schemas.microsoft.com/office/drawing/2014/main" id="{E5910D4C-9FD1-4732-B77F-476EF4EB60EE}"/>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48396" y="3851173"/>
              <a:ext cx="1260000" cy="1260000"/>
            </a:xfrm>
            <a:prstGeom prst="rect">
              <a:avLst/>
            </a:prstGeom>
          </p:spPr>
        </p:pic>
        <p:sp>
          <p:nvSpPr>
            <p:cNvPr id="58" name="CasellaDiTesto 23">
              <a:extLst>
                <a:ext uri="{FF2B5EF4-FFF2-40B4-BE49-F238E27FC236}">
                  <a16:creationId xmlns:a16="http://schemas.microsoft.com/office/drawing/2014/main" id="{D422D74C-F01E-487C-A04B-FF1C674986CB}"/>
                </a:ext>
              </a:extLst>
            </p:cNvPr>
            <p:cNvSpPr txBox="1"/>
            <p:nvPr/>
          </p:nvSpPr>
          <p:spPr>
            <a:xfrm>
              <a:off x="579908" y="5188159"/>
              <a:ext cx="1612943" cy="400110"/>
            </a:xfrm>
            <a:prstGeom prst="rect">
              <a:avLst/>
            </a:prstGeom>
            <a:noFill/>
            <a:ln>
              <a:noFill/>
            </a:ln>
          </p:spPr>
          <p:txBody>
            <a:bodyPr wrap="square" rtlCol="0">
              <a:spAutoFit/>
            </a:bodyPr>
            <a:lstStyle/>
            <a:p>
              <a:pPr algn="ctr"/>
              <a:r>
                <a:rPr lang="en-US" sz="1000" b="1" dirty="0">
                  <a:solidFill>
                    <a:schemeClr val="accent3">
                      <a:lumMod val="75000"/>
                    </a:schemeClr>
                  </a:solidFill>
                  <a:latin typeface="Arial" panose="020B0604020202020204" pitchFamily="34" charset="0"/>
                  <a:cs typeface="Arial" panose="020B0604020202020204" pitchFamily="34" charset="0"/>
                </a:rPr>
                <a:t>Federico Sforza</a:t>
              </a:r>
            </a:p>
            <a:p>
              <a:pPr algn="ctr"/>
              <a:r>
                <a:rPr lang="en-US" sz="1000" b="1" dirty="0" err="1">
                  <a:latin typeface="Arial" panose="020B0604020202020204" pitchFamily="34" charset="0"/>
                  <a:cs typeface="Arial" panose="020B0604020202020204" pitchFamily="34" charset="0"/>
                </a:rPr>
                <a:t>AideXa</a:t>
              </a:r>
              <a:endParaRPr lang="en-US" sz="1000" b="1" dirty="0">
                <a:latin typeface="Arial" panose="020B0604020202020204" pitchFamily="34" charset="0"/>
                <a:cs typeface="Arial" panose="020B0604020202020204" pitchFamily="34" charset="0"/>
              </a:endParaRPr>
            </a:p>
          </p:txBody>
        </p:sp>
      </p:grpSp>
      <p:grpSp>
        <p:nvGrpSpPr>
          <p:cNvPr id="6" name="Group 5">
            <a:extLst>
              <a:ext uri="{FF2B5EF4-FFF2-40B4-BE49-F238E27FC236}">
                <a16:creationId xmlns:a16="http://schemas.microsoft.com/office/drawing/2014/main" id="{F6D9A7E7-4843-ED47-09F5-97760B986410}"/>
              </a:ext>
            </a:extLst>
          </p:cNvPr>
          <p:cNvGrpSpPr/>
          <p:nvPr/>
        </p:nvGrpSpPr>
        <p:grpSpPr>
          <a:xfrm>
            <a:off x="3201590" y="2005507"/>
            <a:ext cx="1612943" cy="1732952"/>
            <a:chOff x="1931924" y="3855317"/>
            <a:chExt cx="1612943" cy="1732952"/>
          </a:xfrm>
        </p:grpSpPr>
        <p:pic>
          <p:nvPicPr>
            <p:cNvPr id="25" name="Picture 24" descr="A person smiling for the camera&#10;&#10;Description automatically generated with low confidence">
              <a:extLst>
                <a:ext uri="{FF2B5EF4-FFF2-40B4-BE49-F238E27FC236}">
                  <a16:creationId xmlns:a16="http://schemas.microsoft.com/office/drawing/2014/main" id="{7D7DE42F-1BFD-4206-BE66-748AB3675803}"/>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113619" y="3855317"/>
              <a:ext cx="1260000" cy="1260000"/>
            </a:xfrm>
            <a:prstGeom prst="rect">
              <a:avLst/>
            </a:prstGeom>
          </p:spPr>
        </p:pic>
        <p:sp>
          <p:nvSpPr>
            <p:cNvPr id="59" name="CasellaDiTesto 23">
              <a:extLst>
                <a:ext uri="{FF2B5EF4-FFF2-40B4-BE49-F238E27FC236}">
                  <a16:creationId xmlns:a16="http://schemas.microsoft.com/office/drawing/2014/main" id="{620011F8-7988-4183-9AB2-DDD32D148A78}"/>
                </a:ext>
              </a:extLst>
            </p:cNvPr>
            <p:cNvSpPr txBox="1"/>
            <p:nvPr/>
          </p:nvSpPr>
          <p:spPr>
            <a:xfrm>
              <a:off x="1931924" y="5188159"/>
              <a:ext cx="1612943" cy="400110"/>
            </a:xfrm>
            <a:prstGeom prst="rect">
              <a:avLst/>
            </a:prstGeom>
            <a:noFill/>
            <a:ln>
              <a:noFill/>
            </a:ln>
          </p:spPr>
          <p:txBody>
            <a:bodyPr wrap="square" rtlCol="0">
              <a:spAutoFit/>
            </a:bodyPr>
            <a:lstStyle/>
            <a:p>
              <a:pPr algn="ctr"/>
              <a:r>
                <a:rPr lang="en-US" sz="1000" b="1" dirty="0">
                  <a:solidFill>
                    <a:schemeClr val="accent3">
                      <a:lumMod val="75000"/>
                    </a:schemeClr>
                  </a:solidFill>
                  <a:latin typeface="Arial" panose="020B0604020202020204" pitchFamily="34" charset="0"/>
                  <a:cs typeface="Arial" panose="020B0604020202020204" pitchFamily="34" charset="0"/>
                </a:rPr>
                <a:t>Oi Yee Choo</a:t>
              </a:r>
            </a:p>
            <a:p>
              <a:pPr algn="ctr"/>
              <a:r>
                <a:rPr lang="en-US" sz="1000" b="1" dirty="0">
                  <a:latin typeface="Arial" panose="020B0604020202020204" pitchFamily="34" charset="0"/>
                  <a:cs typeface="Arial" panose="020B0604020202020204" pitchFamily="34" charset="0"/>
                </a:rPr>
                <a:t>ADDX</a:t>
              </a:r>
            </a:p>
          </p:txBody>
        </p:sp>
      </p:grpSp>
      <p:grpSp>
        <p:nvGrpSpPr>
          <p:cNvPr id="10" name="Group 9">
            <a:extLst>
              <a:ext uri="{FF2B5EF4-FFF2-40B4-BE49-F238E27FC236}">
                <a16:creationId xmlns:a16="http://schemas.microsoft.com/office/drawing/2014/main" id="{D024F96A-75DF-6D24-211D-F2758252149E}"/>
              </a:ext>
            </a:extLst>
          </p:cNvPr>
          <p:cNvGrpSpPr/>
          <p:nvPr/>
        </p:nvGrpSpPr>
        <p:grpSpPr>
          <a:xfrm>
            <a:off x="6972386" y="2001600"/>
            <a:ext cx="1612943" cy="1737263"/>
            <a:chOff x="6991041" y="3855317"/>
            <a:chExt cx="1612943" cy="1737263"/>
          </a:xfrm>
        </p:grpSpPr>
        <p:pic>
          <p:nvPicPr>
            <p:cNvPr id="13" name="Picture 12" descr="A picture containing person, wall, red, wearing&#10;&#10;Description automatically generated">
              <a:extLst>
                <a:ext uri="{FF2B5EF4-FFF2-40B4-BE49-F238E27FC236}">
                  <a16:creationId xmlns:a16="http://schemas.microsoft.com/office/drawing/2014/main" id="{31B91C23-2CA4-4439-AD0D-08D3DFE7A83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153313" y="3855317"/>
              <a:ext cx="1280487" cy="1260000"/>
            </a:xfrm>
            <a:prstGeom prst="rect">
              <a:avLst/>
            </a:prstGeom>
          </p:spPr>
        </p:pic>
        <p:sp>
          <p:nvSpPr>
            <p:cNvPr id="60" name="CasellaDiTesto 23">
              <a:extLst>
                <a:ext uri="{FF2B5EF4-FFF2-40B4-BE49-F238E27FC236}">
                  <a16:creationId xmlns:a16="http://schemas.microsoft.com/office/drawing/2014/main" id="{26679B7A-4B78-488D-9F07-C7E7A816EE80}"/>
                </a:ext>
              </a:extLst>
            </p:cNvPr>
            <p:cNvSpPr txBox="1"/>
            <p:nvPr/>
          </p:nvSpPr>
          <p:spPr>
            <a:xfrm>
              <a:off x="6991041" y="5192470"/>
              <a:ext cx="1612943" cy="400110"/>
            </a:xfrm>
            <a:prstGeom prst="rect">
              <a:avLst/>
            </a:prstGeom>
            <a:noFill/>
            <a:ln>
              <a:noFill/>
            </a:ln>
          </p:spPr>
          <p:txBody>
            <a:bodyPr wrap="square" rtlCol="0">
              <a:spAutoFit/>
            </a:bodyPr>
            <a:lstStyle/>
            <a:p>
              <a:pPr algn="ctr"/>
              <a:r>
                <a:rPr lang="en-US" sz="1000" b="1" dirty="0">
                  <a:solidFill>
                    <a:schemeClr val="accent3">
                      <a:lumMod val="75000"/>
                    </a:schemeClr>
                  </a:solidFill>
                  <a:latin typeface="Arial" panose="020B0604020202020204" pitchFamily="34" charset="0"/>
                  <a:cs typeface="Arial" panose="020B0604020202020204" pitchFamily="34" charset="0"/>
                </a:rPr>
                <a:t>Betsy Cohen</a:t>
              </a:r>
            </a:p>
            <a:p>
              <a:pPr algn="ctr"/>
              <a:r>
                <a:rPr lang="en-US" sz="1000" b="1" dirty="0">
                  <a:latin typeface="Arial" panose="020B0604020202020204" pitchFamily="34" charset="0"/>
                  <a:cs typeface="Arial" panose="020B0604020202020204" pitchFamily="34" charset="0"/>
                </a:rPr>
                <a:t>Bancorp</a:t>
              </a:r>
            </a:p>
          </p:txBody>
        </p:sp>
      </p:grpSp>
      <p:grpSp>
        <p:nvGrpSpPr>
          <p:cNvPr id="9" name="Group 8">
            <a:extLst>
              <a:ext uri="{FF2B5EF4-FFF2-40B4-BE49-F238E27FC236}">
                <a16:creationId xmlns:a16="http://schemas.microsoft.com/office/drawing/2014/main" id="{1F02F355-6B6C-0FB4-E5D4-6D5674D2BBE8}"/>
              </a:ext>
            </a:extLst>
          </p:cNvPr>
          <p:cNvGrpSpPr/>
          <p:nvPr/>
        </p:nvGrpSpPr>
        <p:grpSpPr>
          <a:xfrm>
            <a:off x="630065" y="2013582"/>
            <a:ext cx="1612943" cy="1736941"/>
            <a:chOff x="5693295" y="3851173"/>
            <a:chExt cx="1612943" cy="1736941"/>
          </a:xfrm>
        </p:grpSpPr>
        <p:pic>
          <p:nvPicPr>
            <p:cNvPr id="44" name="Picture 43" descr="A person in a suit and tie&#10;&#10;Description automatically generated with medium confidence">
              <a:extLst>
                <a:ext uri="{FF2B5EF4-FFF2-40B4-BE49-F238E27FC236}">
                  <a16:creationId xmlns:a16="http://schemas.microsoft.com/office/drawing/2014/main" id="{A68E1368-FA9F-4F14-83F0-1E5F2FDB35B1}"/>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5891674" y="3851173"/>
              <a:ext cx="1260000" cy="1260000"/>
            </a:xfrm>
            <a:prstGeom prst="rect">
              <a:avLst/>
            </a:prstGeom>
          </p:spPr>
        </p:pic>
        <p:sp>
          <p:nvSpPr>
            <p:cNvPr id="61" name="CasellaDiTesto 23">
              <a:extLst>
                <a:ext uri="{FF2B5EF4-FFF2-40B4-BE49-F238E27FC236}">
                  <a16:creationId xmlns:a16="http://schemas.microsoft.com/office/drawing/2014/main" id="{01D9B484-8892-484D-B94D-C66DAB26AD43}"/>
                </a:ext>
              </a:extLst>
            </p:cNvPr>
            <p:cNvSpPr txBox="1"/>
            <p:nvPr/>
          </p:nvSpPr>
          <p:spPr>
            <a:xfrm>
              <a:off x="5693295" y="5188004"/>
              <a:ext cx="1612943" cy="400110"/>
            </a:xfrm>
            <a:prstGeom prst="rect">
              <a:avLst/>
            </a:prstGeom>
            <a:noFill/>
            <a:ln>
              <a:noFill/>
            </a:ln>
          </p:spPr>
          <p:txBody>
            <a:bodyPr wrap="square" rtlCol="0">
              <a:spAutoFit/>
            </a:bodyPr>
            <a:lstStyle/>
            <a:p>
              <a:pPr algn="ctr"/>
              <a:r>
                <a:rPr lang="en-US" sz="1000" b="1" dirty="0">
                  <a:solidFill>
                    <a:schemeClr val="accent3">
                      <a:lumMod val="75000"/>
                    </a:schemeClr>
                  </a:solidFill>
                  <a:latin typeface="Arial" panose="020B0604020202020204" pitchFamily="34" charset="0"/>
                  <a:cs typeface="Arial" panose="020B0604020202020204" pitchFamily="34" charset="0"/>
                </a:rPr>
                <a:t>Andrew Darley</a:t>
              </a:r>
            </a:p>
            <a:p>
              <a:pPr algn="ctr"/>
              <a:r>
                <a:rPr lang="en-US" sz="1000" b="1" dirty="0">
                  <a:latin typeface="Arial" panose="020B0604020202020204" pitchFamily="34" charset="0"/>
                  <a:cs typeface="Arial" panose="020B0604020202020204" pitchFamily="34" charset="0"/>
                </a:rPr>
                <a:t>IBM</a:t>
              </a:r>
            </a:p>
          </p:txBody>
        </p:sp>
      </p:grpSp>
      <p:grpSp>
        <p:nvGrpSpPr>
          <p:cNvPr id="8" name="Group 7">
            <a:extLst>
              <a:ext uri="{FF2B5EF4-FFF2-40B4-BE49-F238E27FC236}">
                <a16:creationId xmlns:a16="http://schemas.microsoft.com/office/drawing/2014/main" id="{7A92BF66-D6D4-FEB5-C437-7C72A5218146}"/>
              </a:ext>
            </a:extLst>
          </p:cNvPr>
          <p:cNvGrpSpPr/>
          <p:nvPr/>
        </p:nvGrpSpPr>
        <p:grpSpPr>
          <a:xfrm>
            <a:off x="6925722" y="3895860"/>
            <a:ext cx="1612943" cy="1736786"/>
            <a:chOff x="4453563" y="3846607"/>
            <a:chExt cx="1612943" cy="1736786"/>
          </a:xfrm>
        </p:grpSpPr>
        <p:pic>
          <p:nvPicPr>
            <p:cNvPr id="48" name="Picture 47" descr="A person with his arms crossed&#10;&#10;Description automatically generated with medium confidence">
              <a:extLst>
                <a:ext uri="{FF2B5EF4-FFF2-40B4-BE49-F238E27FC236}">
                  <a16:creationId xmlns:a16="http://schemas.microsoft.com/office/drawing/2014/main" id="{B864C72A-5D48-425B-9164-C97F9375AE31}"/>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b="-266"/>
            <a:stretch/>
          </p:blipFill>
          <p:spPr>
            <a:xfrm>
              <a:off x="4630035" y="3846607"/>
              <a:ext cx="1260000" cy="1260000"/>
            </a:xfrm>
            <a:prstGeom prst="rect">
              <a:avLst/>
            </a:prstGeom>
          </p:spPr>
        </p:pic>
        <p:sp>
          <p:nvSpPr>
            <p:cNvPr id="62" name="CasellaDiTesto 23">
              <a:extLst>
                <a:ext uri="{FF2B5EF4-FFF2-40B4-BE49-F238E27FC236}">
                  <a16:creationId xmlns:a16="http://schemas.microsoft.com/office/drawing/2014/main" id="{26C7CBD3-9A4F-4069-9CEE-BA3A0B480108}"/>
                </a:ext>
              </a:extLst>
            </p:cNvPr>
            <p:cNvSpPr txBox="1"/>
            <p:nvPr/>
          </p:nvSpPr>
          <p:spPr>
            <a:xfrm>
              <a:off x="4453563" y="5183283"/>
              <a:ext cx="1612943" cy="400110"/>
            </a:xfrm>
            <a:prstGeom prst="rect">
              <a:avLst/>
            </a:prstGeom>
            <a:noFill/>
            <a:ln>
              <a:noFill/>
            </a:ln>
          </p:spPr>
          <p:txBody>
            <a:bodyPr wrap="square" rtlCol="0">
              <a:spAutoFit/>
            </a:bodyPr>
            <a:lstStyle/>
            <a:p>
              <a:pPr algn="ctr"/>
              <a:r>
                <a:rPr lang="en-US" sz="1000" b="1" dirty="0">
                  <a:solidFill>
                    <a:schemeClr val="accent3">
                      <a:lumMod val="75000"/>
                    </a:schemeClr>
                  </a:solidFill>
                  <a:latin typeface="Arial" panose="020B0604020202020204" pitchFamily="34" charset="0"/>
                  <a:cs typeface="Arial" panose="020B0604020202020204" pitchFamily="34" charset="0"/>
                </a:rPr>
                <a:t>Francesco </a:t>
              </a:r>
              <a:r>
                <a:rPr lang="en-US" sz="1000" b="1" dirty="0" err="1">
                  <a:solidFill>
                    <a:schemeClr val="accent3">
                      <a:lumMod val="75000"/>
                    </a:schemeClr>
                  </a:solidFill>
                  <a:latin typeface="Arial" panose="020B0604020202020204" pitchFamily="34" charset="0"/>
                  <a:cs typeface="Arial" panose="020B0604020202020204" pitchFamily="34" charset="0"/>
                </a:rPr>
                <a:t>Passone</a:t>
              </a:r>
              <a:endParaRPr lang="en-US" sz="1000" b="1" dirty="0">
                <a:solidFill>
                  <a:schemeClr val="accent3">
                    <a:lumMod val="75000"/>
                  </a:schemeClr>
                </a:solidFill>
                <a:latin typeface="Arial" panose="020B0604020202020204" pitchFamily="34" charset="0"/>
                <a:cs typeface="Arial" panose="020B0604020202020204" pitchFamily="34" charset="0"/>
              </a:endParaRPr>
            </a:p>
            <a:p>
              <a:pPr algn="ctr"/>
              <a:r>
                <a:rPr lang="en-US" sz="1000" b="1" dirty="0">
                  <a:latin typeface="Arial" panose="020B0604020202020204" pitchFamily="34" charset="0"/>
                  <a:cs typeface="Arial" panose="020B0604020202020204" pitchFamily="34" charset="0"/>
                </a:rPr>
                <a:t>Klarna</a:t>
              </a:r>
            </a:p>
          </p:txBody>
        </p:sp>
      </p:grpSp>
      <p:grpSp>
        <p:nvGrpSpPr>
          <p:cNvPr id="7" name="Group 6">
            <a:extLst>
              <a:ext uri="{FF2B5EF4-FFF2-40B4-BE49-F238E27FC236}">
                <a16:creationId xmlns:a16="http://schemas.microsoft.com/office/drawing/2014/main" id="{8E763FF0-8329-D224-255F-450F4CC3D17F}"/>
              </a:ext>
            </a:extLst>
          </p:cNvPr>
          <p:cNvGrpSpPr/>
          <p:nvPr/>
        </p:nvGrpSpPr>
        <p:grpSpPr>
          <a:xfrm>
            <a:off x="1992326" y="3895860"/>
            <a:ext cx="1612943" cy="1732220"/>
            <a:chOff x="3229670" y="3851328"/>
            <a:chExt cx="1612943" cy="1732220"/>
          </a:xfrm>
        </p:grpSpPr>
        <p:pic>
          <p:nvPicPr>
            <p:cNvPr id="46" name="Picture 45" descr="A person wearing glasses&#10;&#10;Description automatically generated with medium confidence">
              <a:extLst>
                <a:ext uri="{FF2B5EF4-FFF2-40B4-BE49-F238E27FC236}">
                  <a16:creationId xmlns:a16="http://schemas.microsoft.com/office/drawing/2014/main" id="{7D760322-3128-45CB-868D-05F67D1858C0}"/>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3368396" y="3851328"/>
              <a:ext cx="1260000" cy="1260000"/>
            </a:xfrm>
            <a:prstGeom prst="rect">
              <a:avLst/>
            </a:prstGeom>
          </p:spPr>
        </p:pic>
        <p:sp>
          <p:nvSpPr>
            <p:cNvPr id="63" name="CasellaDiTesto 23">
              <a:extLst>
                <a:ext uri="{FF2B5EF4-FFF2-40B4-BE49-F238E27FC236}">
                  <a16:creationId xmlns:a16="http://schemas.microsoft.com/office/drawing/2014/main" id="{4CCE297D-F002-4740-9C36-15EA546B8758}"/>
                </a:ext>
              </a:extLst>
            </p:cNvPr>
            <p:cNvSpPr txBox="1"/>
            <p:nvPr/>
          </p:nvSpPr>
          <p:spPr>
            <a:xfrm>
              <a:off x="3229670" y="5183438"/>
              <a:ext cx="1612943" cy="400110"/>
            </a:xfrm>
            <a:prstGeom prst="rect">
              <a:avLst/>
            </a:prstGeom>
            <a:noFill/>
            <a:ln>
              <a:noFill/>
            </a:ln>
          </p:spPr>
          <p:txBody>
            <a:bodyPr wrap="square" rtlCol="0">
              <a:spAutoFit/>
            </a:bodyPr>
            <a:lstStyle/>
            <a:p>
              <a:pPr algn="ctr"/>
              <a:r>
                <a:rPr lang="en-US" sz="1000" b="1" dirty="0">
                  <a:solidFill>
                    <a:schemeClr val="accent3">
                      <a:lumMod val="75000"/>
                    </a:schemeClr>
                  </a:solidFill>
                  <a:latin typeface="Arial" panose="020B0604020202020204" pitchFamily="34" charset="0"/>
                  <a:cs typeface="Arial" panose="020B0604020202020204" pitchFamily="34" charset="0"/>
                </a:rPr>
                <a:t>Giovanni </a:t>
              </a:r>
              <a:r>
                <a:rPr lang="en-US" sz="1000" b="1" dirty="0" err="1">
                  <a:solidFill>
                    <a:schemeClr val="accent3">
                      <a:lumMod val="75000"/>
                    </a:schemeClr>
                  </a:solidFill>
                  <a:latin typeface="Arial" panose="020B0604020202020204" pitchFamily="34" charset="0"/>
                  <a:cs typeface="Arial" panose="020B0604020202020204" pitchFamily="34" charset="0"/>
                </a:rPr>
                <a:t>Daprà</a:t>
              </a:r>
              <a:endParaRPr lang="en-US" sz="1000" b="1" dirty="0">
                <a:solidFill>
                  <a:schemeClr val="accent3">
                    <a:lumMod val="75000"/>
                  </a:schemeClr>
                </a:solidFill>
                <a:latin typeface="Arial" panose="020B0604020202020204" pitchFamily="34" charset="0"/>
                <a:cs typeface="Arial" panose="020B0604020202020204" pitchFamily="34" charset="0"/>
              </a:endParaRPr>
            </a:p>
            <a:p>
              <a:pPr algn="ctr"/>
              <a:r>
                <a:rPr lang="en-US" sz="1000" b="1" dirty="0" err="1">
                  <a:latin typeface="Arial" panose="020B0604020202020204" pitchFamily="34" charset="0"/>
                  <a:cs typeface="Arial" panose="020B0604020202020204" pitchFamily="34" charset="0"/>
                </a:rPr>
                <a:t>Moneyfarm</a:t>
              </a:r>
              <a:endParaRPr lang="en-US" sz="1000" b="1"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806835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reeform 42">
            <a:extLst>
              <a:ext uri="{FF2B5EF4-FFF2-40B4-BE49-F238E27FC236}">
                <a16:creationId xmlns:a16="http://schemas.microsoft.com/office/drawing/2014/main" id="{8D9F4922-5097-1D47-9774-CFBF1AA82830}"/>
              </a:ext>
            </a:extLst>
          </p:cNvPr>
          <p:cNvSpPr/>
          <p:nvPr/>
        </p:nvSpPr>
        <p:spPr>
          <a:xfrm>
            <a:off x="6833117" y="4250682"/>
            <a:ext cx="1331289" cy="1170733"/>
          </a:xfrm>
          <a:custGeom>
            <a:avLst/>
            <a:gdLst>
              <a:gd name="connsiteX0" fmla="*/ 1849142 w 3778392"/>
              <a:gd name="connsiteY0" fmla="*/ 2908141 h 3322711"/>
              <a:gd name="connsiteX1" fmla="*/ 1622572 w 3778392"/>
              <a:gd name="connsiteY1" fmla="*/ 3110524 h 3322711"/>
              <a:gd name="connsiteX2" fmla="*/ 1617042 w 3778392"/>
              <a:gd name="connsiteY2" fmla="*/ 2959651 h 3322711"/>
              <a:gd name="connsiteX3" fmla="*/ 1791774 w 3778392"/>
              <a:gd name="connsiteY3" fmla="*/ 2924677 h 3322711"/>
              <a:gd name="connsiteX4" fmla="*/ 1791774 w 3778392"/>
              <a:gd name="connsiteY4" fmla="*/ 2924677 h 3322711"/>
              <a:gd name="connsiteX5" fmla="*/ 1849142 w 3778392"/>
              <a:gd name="connsiteY5" fmla="*/ 2908141 h 3322711"/>
              <a:gd name="connsiteX6" fmla="*/ 3261966 w 3778392"/>
              <a:gd name="connsiteY6" fmla="*/ 2834639 h 3322711"/>
              <a:gd name="connsiteX7" fmla="*/ 3261966 w 3778392"/>
              <a:gd name="connsiteY7" fmla="*/ 2834639 h 3322711"/>
              <a:gd name="connsiteX8" fmla="*/ 3548440 w 3778392"/>
              <a:gd name="connsiteY8" fmla="*/ 2330393 h 3322711"/>
              <a:gd name="connsiteX9" fmla="*/ 3557676 w 3778392"/>
              <a:gd name="connsiteY9" fmla="*/ 2342469 h 3322711"/>
              <a:gd name="connsiteX10" fmla="*/ 3570182 w 3778392"/>
              <a:gd name="connsiteY10" fmla="*/ 2372755 h 3322711"/>
              <a:gd name="connsiteX11" fmla="*/ 3612380 w 3778392"/>
              <a:gd name="connsiteY11" fmla="*/ 2418262 h 3322711"/>
              <a:gd name="connsiteX12" fmla="*/ 3587242 w 3778392"/>
              <a:gd name="connsiteY12" fmla="*/ 2491283 h 3322711"/>
              <a:gd name="connsiteX13" fmla="*/ 3585724 w 3778392"/>
              <a:gd name="connsiteY13" fmla="*/ 2524207 h 3322711"/>
              <a:gd name="connsiteX14" fmla="*/ 3611938 w 3778392"/>
              <a:gd name="connsiteY14" fmla="*/ 2527913 h 3322711"/>
              <a:gd name="connsiteX15" fmla="*/ 3611938 w 3778392"/>
              <a:gd name="connsiteY15" fmla="*/ 2527913 h 3322711"/>
              <a:gd name="connsiteX16" fmla="*/ 3625414 w 3778392"/>
              <a:gd name="connsiteY16" fmla="*/ 2495815 h 3322711"/>
              <a:gd name="connsiteX17" fmla="*/ 3635936 w 3778392"/>
              <a:gd name="connsiteY17" fmla="*/ 2527433 h 3322711"/>
              <a:gd name="connsiteX18" fmla="*/ 3621406 w 3778392"/>
              <a:gd name="connsiteY18" fmla="*/ 2571848 h 3322711"/>
              <a:gd name="connsiteX19" fmla="*/ 3644710 w 3778392"/>
              <a:gd name="connsiteY19" fmla="*/ 2605545 h 3322711"/>
              <a:gd name="connsiteX20" fmla="*/ 3716242 w 3778392"/>
              <a:gd name="connsiteY20" fmla="*/ 2601013 h 3322711"/>
              <a:gd name="connsiteX21" fmla="*/ 3778392 w 3778392"/>
              <a:gd name="connsiteY21" fmla="*/ 2595495 h 3322711"/>
              <a:gd name="connsiteX22" fmla="*/ 3741254 w 3778392"/>
              <a:gd name="connsiteY22" fmla="*/ 2636604 h 3322711"/>
              <a:gd name="connsiteX23" fmla="*/ 3698276 w 3778392"/>
              <a:gd name="connsiteY23" fmla="*/ 2677153 h 3322711"/>
              <a:gd name="connsiteX24" fmla="*/ 3597282 w 3778392"/>
              <a:gd name="connsiteY24" fmla="*/ 2722127 h 3322711"/>
              <a:gd name="connsiteX25" fmla="*/ 3581128 w 3778392"/>
              <a:gd name="connsiteY25" fmla="*/ 2735190 h 3322711"/>
              <a:gd name="connsiteX26" fmla="*/ 3577394 w 3778392"/>
              <a:gd name="connsiteY26" fmla="*/ 2756598 h 3322711"/>
              <a:gd name="connsiteX27" fmla="*/ 3538738 w 3778392"/>
              <a:gd name="connsiteY27" fmla="*/ 2786243 h 3322711"/>
              <a:gd name="connsiteX28" fmla="*/ 3499260 w 3778392"/>
              <a:gd name="connsiteY28" fmla="*/ 2821967 h 3322711"/>
              <a:gd name="connsiteX29" fmla="*/ 3446308 w 3778392"/>
              <a:gd name="connsiteY29" fmla="*/ 2852999 h 3322711"/>
              <a:gd name="connsiteX30" fmla="*/ 3366254 w 3778392"/>
              <a:gd name="connsiteY30" fmla="*/ 2899973 h 3322711"/>
              <a:gd name="connsiteX31" fmla="*/ 3326670 w 3778392"/>
              <a:gd name="connsiteY31" fmla="*/ 2885150 h 3322711"/>
              <a:gd name="connsiteX32" fmla="*/ 3331214 w 3778392"/>
              <a:gd name="connsiteY32" fmla="*/ 2876101 h 3322711"/>
              <a:gd name="connsiteX33" fmla="*/ 3308008 w 3778392"/>
              <a:gd name="connsiteY33" fmla="*/ 2896450 h 3322711"/>
              <a:gd name="connsiteX34" fmla="*/ 3293444 w 3778392"/>
              <a:gd name="connsiteY34" fmla="*/ 2922925 h 3322711"/>
              <a:gd name="connsiteX35" fmla="*/ 3282368 w 3778392"/>
              <a:gd name="connsiteY35" fmla="*/ 2936918 h 3322711"/>
              <a:gd name="connsiteX36" fmla="*/ 3219636 w 3778392"/>
              <a:gd name="connsiteY36" fmla="*/ 2980764 h 3322711"/>
              <a:gd name="connsiteX37" fmla="*/ 3092606 w 3778392"/>
              <a:gd name="connsiteY37" fmla="*/ 3069529 h 3322711"/>
              <a:gd name="connsiteX38" fmla="*/ 3104578 w 3778392"/>
              <a:gd name="connsiteY38" fmla="*/ 3083886 h 3322711"/>
              <a:gd name="connsiteX39" fmla="*/ 3091226 w 3778392"/>
              <a:gd name="connsiteY39" fmla="*/ 3097241 h 3322711"/>
              <a:gd name="connsiteX40" fmla="*/ 3061016 w 3778392"/>
              <a:gd name="connsiteY40" fmla="*/ 3102186 h 3322711"/>
              <a:gd name="connsiteX41" fmla="*/ 3017082 w 3778392"/>
              <a:gd name="connsiteY41" fmla="*/ 3113353 h 3322711"/>
              <a:gd name="connsiteX42" fmla="*/ 2945250 w 3778392"/>
              <a:gd name="connsiteY42" fmla="*/ 3141088 h 3322711"/>
              <a:gd name="connsiteX43" fmla="*/ 2882594 w 3778392"/>
              <a:gd name="connsiteY43" fmla="*/ 3202300 h 3322711"/>
              <a:gd name="connsiteX44" fmla="*/ 2718268 w 3778392"/>
              <a:gd name="connsiteY44" fmla="*/ 3308111 h 3322711"/>
              <a:gd name="connsiteX45" fmla="*/ 2632786 w 3778392"/>
              <a:gd name="connsiteY45" fmla="*/ 3318389 h 3322711"/>
              <a:gd name="connsiteX46" fmla="*/ 2599070 w 3778392"/>
              <a:gd name="connsiteY46" fmla="*/ 3300431 h 3322711"/>
              <a:gd name="connsiteX47" fmla="*/ 2599070 w 3778392"/>
              <a:gd name="connsiteY47" fmla="*/ 3284410 h 3322711"/>
              <a:gd name="connsiteX48" fmla="*/ 2525708 w 3778392"/>
              <a:gd name="connsiteY48" fmla="*/ 3287099 h 3322711"/>
              <a:gd name="connsiteX49" fmla="*/ 2543722 w 3778392"/>
              <a:gd name="connsiteY49" fmla="*/ 3264492 h 3322711"/>
              <a:gd name="connsiteX50" fmla="*/ 2581018 w 3778392"/>
              <a:gd name="connsiteY50" fmla="*/ 3234957 h 3322711"/>
              <a:gd name="connsiteX51" fmla="*/ 2633606 w 3778392"/>
              <a:gd name="connsiteY51" fmla="*/ 3201753 h 3322711"/>
              <a:gd name="connsiteX52" fmla="*/ 2698278 w 3778392"/>
              <a:gd name="connsiteY52" fmla="*/ 3162852 h 3322711"/>
              <a:gd name="connsiteX53" fmla="*/ 2749820 w 3778392"/>
              <a:gd name="connsiteY53" fmla="*/ 3130969 h 3322711"/>
              <a:gd name="connsiteX54" fmla="*/ 2808972 w 3778392"/>
              <a:gd name="connsiteY54" fmla="*/ 3108841 h 3322711"/>
              <a:gd name="connsiteX55" fmla="*/ 2946444 w 3778392"/>
              <a:gd name="connsiteY55" fmla="*/ 3049793 h 3322711"/>
              <a:gd name="connsiteX56" fmla="*/ 2994108 w 3778392"/>
              <a:gd name="connsiteY56" fmla="*/ 3025568 h 3322711"/>
              <a:gd name="connsiteX57" fmla="*/ 3034424 w 3778392"/>
              <a:gd name="connsiteY57" fmla="*/ 3007314 h 3322711"/>
              <a:gd name="connsiteX58" fmla="*/ 3054006 w 3778392"/>
              <a:gd name="connsiteY58" fmla="*/ 2991521 h 3322711"/>
              <a:gd name="connsiteX59" fmla="*/ 3088130 w 3778392"/>
              <a:gd name="connsiteY59" fmla="*/ 2952574 h 3322711"/>
              <a:gd name="connsiteX60" fmla="*/ 3134676 w 3778392"/>
              <a:gd name="connsiteY60" fmla="*/ 2928394 h 3322711"/>
              <a:gd name="connsiteX61" fmla="*/ 3174770 w 3778392"/>
              <a:gd name="connsiteY61" fmla="*/ 2900477 h 3322711"/>
              <a:gd name="connsiteX62" fmla="*/ 3202032 w 3778392"/>
              <a:gd name="connsiteY62" fmla="*/ 2864288 h 3322711"/>
              <a:gd name="connsiteX63" fmla="*/ 3261966 w 3778392"/>
              <a:gd name="connsiteY63" fmla="*/ 2834639 h 3322711"/>
              <a:gd name="connsiteX64" fmla="*/ 3247236 w 3778392"/>
              <a:gd name="connsiteY64" fmla="*/ 2896079 h 3322711"/>
              <a:gd name="connsiteX65" fmla="*/ 3294676 w 3778392"/>
              <a:gd name="connsiteY65" fmla="*/ 2875500 h 3322711"/>
              <a:gd name="connsiteX66" fmla="*/ 3314038 w 3778392"/>
              <a:gd name="connsiteY66" fmla="*/ 2867704 h 3322711"/>
              <a:gd name="connsiteX67" fmla="*/ 3331260 w 3778392"/>
              <a:gd name="connsiteY67" fmla="*/ 2876006 h 3322711"/>
              <a:gd name="connsiteX68" fmla="*/ 3332438 w 3778392"/>
              <a:gd name="connsiteY68" fmla="*/ 2873661 h 3322711"/>
              <a:gd name="connsiteX69" fmla="*/ 3381354 w 3778392"/>
              <a:gd name="connsiteY69" fmla="*/ 2841082 h 3322711"/>
              <a:gd name="connsiteX70" fmla="*/ 3426378 w 3778392"/>
              <a:gd name="connsiteY70" fmla="*/ 2790082 h 3322711"/>
              <a:gd name="connsiteX71" fmla="*/ 3378570 w 3778392"/>
              <a:gd name="connsiteY71" fmla="*/ 2722447 h 3322711"/>
              <a:gd name="connsiteX72" fmla="*/ 3438252 w 3778392"/>
              <a:gd name="connsiteY72" fmla="*/ 2692988 h 3322711"/>
              <a:gd name="connsiteX73" fmla="*/ 3497426 w 3778392"/>
              <a:gd name="connsiteY73" fmla="*/ 2638603 h 3322711"/>
              <a:gd name="connsiteX74" fmla="*/ 3540004 w 3778392"/>
              <a:gd name="connsiteY74" fmla="*/ 2459878 h 3322711"/>
              <a:gd name="connsiteX75" fmla="*/ 3540680 w 3778392"/>
              <a:gd name="connsiteY75" fmla="*/ 2381446 h 3322711"/>
              <a:gd name="connsiteX76" fmla="*/ 3540574 w 3778392"/>
              <a:gd name="connsiteY76" fmla="*/ 2336471 h 3322711"/>
              <a:gd name="connsiteX77" fmla="*/ 3548440 w 3778392"/>
              <a:gd name="connsiteY77" fmla="*/ 2330393 h 3322711"/>
              <a:gd name="connsiteX78" fmla="*/ 51152 w 3778392"/>
              <a:gd name="connsiteY78" fmla="*/ 1769618 h 3322711"/>
              <a:gd name="connsiteX79" fmla="*/ 51216 w 3778392"/>
              <a:gd name="connsiteY79" fmla="*/ 1769741 h 3322711"/>
              <a:gd name="connsiteX80" fmla="*/ 51274 w 3778392"/>
              <a:gd name="connsiteY80" fmla="*/ 1769979 h 3322711"/>
              <a:gd name="connsiteX81" fmla="*/ 46258 w 3778392"/>
              <a:gd name="connsiteY81" fmla="*/ 1760425 h 3322711"/>
              <a:gd name="connsiteX82" fmla="*/ 50020 w 3778392"/>
              <a:gd name="connsiteY82" fmla="*/ 1766274 h 3322711"/>
              <a:gd name="connsiteX83" fmla="*/ 51152 w 3778392"/>
              <a:gd name="connsiteY83" fmla="*/ 1769618 h 3322711"/>
              <a:gd name="connsiteX84" fmla="*/ 2638296 w 3778392"/>
              <a:gd name="connsiteY84" fmla="*/ 1694404 h 3322711"/>
              <a:gd name="connsiteX85" fmla="*/ 2640824 w 3778392"/>
              <a:gd name="connsiteY85" fmla="*/ 1699549 h 3322711"/>
              <a:gd name="connsiteX86" fmla="*/ 2638296 w 3778392"/>
              <a:gd name="connsiteY86" fmla="*/ 1694404 h 3322711"/>
              <a:gd name="connsiteX87" fmla="*/ 155442 w 3778392"/>
              <a:gd name="connsiteY87" fmla="*/ 1489411 h 3322711"/>
              <a:gd name="connsiteX88" fmla="*/ 165142 w 3778392"/>
              <a:gd name="connsiteY88" fmla="*/ 1489411 h 3322711"/>
              <a:gd name="connsiteX89" fmla="*/ 155612 w 3778392"/>
              <a:gd name="connsiteY89" fmla="*/ 1492461 h 3322711"/>
              <a:gd name="connsiteX90" fmla="*/ 154960 w 3778392"/>
              <a:gd name="connsiteY90" fmla="*/ 1480725 h 3322711"/>
              <a:gd name="connsiteX91" fmla="*/ 155442 w 3778392"/>
              <a:gd name="connsiteY91" fmla="*/ 1489411 h 3322711"/>
              <a:gd name="connsiteX92" fmla="*/ 154636 w 3778392"/>
              <a:gd name="connsiteY92" fmla="*/ 1489411 h 3322711"/>
              <a:gd name="connsiteX93" fmla="*/ 154960 w 3778392"/>
              <a:gd name="connsiteY93" fmla="*/ 1480725 h 3322711"/>
              <a:gd name="connsiteX94" fmla="*/ 2178392 w 3778392"/>
              <a:gd name="connsiteY94" fmla="*/ 655248 h 3322711"/>
              <a:gd name="connsiteX95" fmla="*/ 2201370 w 3778392"/>
              <a:gd name="connsiteY95" fmla="*/ 734315 h 3322711"/>
              <a:gd name="connsiteX96" fmla="*/ 2223350 w 3778392"/>
              <a:gd name="connsiteY96" fmla="*/ 889725 h 3322711"/>
              <a:gd name="connsiteX97" fmla="*/ 2281548 w 3778392"/>
              <a:gd name="connsiteY97" fmla="*/ 903919 h 3322711"/>
              <a:gd name="connsiteX98" fmla="*/ 2347900 w 3778392"/>
              <a:gd name="connsiteY98" fmla="*/ 1276052 h 3322711"/>
              <a:gd name="connsiteX99" fmla="*/ 2476184 w 3778392"/>
              <a:gd name="connsiteY99" fmla="*/ 1377902 h 3322711"/>
              <a:gd name="connsiteX100" fmla="*/ 2519038 w 3778392"/>
              <a:gd name="connsiteY100" fmla="*/ 1524970 h 3322711"/>
              <a:gd name="connsiteX101" fmla="*/ 2525120 w 3778392"/>
              <a:gd name="connsiteY101" fmla="*/ 1499069 h 3322711"/>
              <a:gd name="connsiteX102" fmla="*/ 2567974 w 3778392"/>
              <a:gd name="connsiteY102" fmla="*/ 1607065 h 3322711"/>
              <a:gd name="connsiteX103" fmla="*/ 2640824 w 3778392"/>
              <a:gd name="connsiteY103" fmla="*/ 1699549 h 3322711"/>
              <a:gd name="connsiteX104" fmla="*/ 2635572 w 3778392"/>
              <a:gd name="connsiteY104" fmla="*/ 1880275 h 3322711"/>
              <a:gd name="connsiteX105" fmla="*/ 2638198 w 3778392"/>
              <a:gd name="connsiteY105" fmla="*/ 1984759 h 3322711"/>
              <a:gd name="connsiteX106" fmla="*/ 2530788 w 3778392"/>
              <a:gd name="connsiteY106" fmla="*/ 2157729 h 3322711"/>
              <a:gd name="connsiteX107" fmla="*/ 2411076 w 3778392"/>
              <a:gd name="connsiteY107" fmla="*/ 2305382 h 3322711"/>
              <a:gd name="connsiteX108" fmla="*/ 2103774 w 3778392"/>
              <a:gd name="connsiteY108" fmla="*/ 2650735 h 3322711"/>
              <a:gd name="connsiteX109" fmla="*/ 1931808 w 3778392"/>
              <a:gd name="connsiteY109" fmla="*/ 2712197 h 3322711"/>
              <a:gd name="connsiteX110" fmla="*/ 1805460 w 3778392"/>
              <a:gd name="connsiteY110" fmla="*/ 2783901 h 3322711"/>
              <a:gd name="connsiteX111" fmla="*/ 1770210 w 3778392"/>
              <a:gd name="connsiteY111" fmla="*/ 2705758 h 3322711"/>
              <a:gd name="connsiteX112" fmla="*/ 1642756 w 3778392"/>
              <a:gd name="connsiteY112" fmla="*/ 2762683 h 3322711"/>
              <a:gd name="connsiteX113" fmla="*/ 1492216 w 3778392"/>
              <a:gd name="connsiteY113" fmla="*/ 2700929 h 3322711"/>
              <a:gd name="connsiteX114" fmla="*/ 1497882 w 3778392"/>
              <a:gd name="connsiteY114" fmla="*/ 2548885 h 3322711"/>
              <a:gd name="connsiteX115" fmla="*/ 1431530 w 3778392"/>
              <a:gd name="connsiteY115" fmla="*/ 2519472 h 3322711"/>
              <a:gd name="connsiteX116" fmla="*/ 1465950 w 3778392"/>
              <a:gd name="connsiteY116" fmla="*/ 2418061 h 3322711"/>
              <a:gd name="connsiteX117" fmla="*/ 1353840 w 3778392"/>
              <a:gd name="connsiteY117" fmla="*/ 2495619 h 3322711"/>
              <a:gd name="connsiteX118" fmla="*/ 1444662 w 3778392"/>
              <a:gd name="connsiteY118" fmla="*/ 2396988 h 3322711"/>
              <a:gd name="connsiteX119" fmla="*/ 1491800 w 3778392"/>
              <a:gd name="connsiteY119" fmla="*/ 2303772 h 3322711"/>
              <a:gd name="connsiteX120" fmla="*/ 1284860 w 3778392"/>
              <a:gd name="connsiteY120" fmla="*/ 2472351 h 3322711"/>
              <a:gd name="connsiteX121" fmla="*/ 1273940 w 3778392"/>
              <a:gd name="connsiteY121" fmla="*/ 2339771 h 3322711"/>
              <a:gd name="connsiteX122" fmla="*/ 1249886 w 3778392"/>
              <a:gd name="connsiteY122" fmla="*/ 2269090 h 3322711"/>
              <a:gd name="connsiteX123" fmla="*/ 991798 w 3778392"/>
              <a:gd name="connsiteY123" fmla="*/ 2217287 h 3322711"/>
              <a:gd name="connsiteX124" fmla="*/ 643994 w 3778392"/>
              <a:gd name="connsiteY124" fmla="*/ 2310943 h 3322711"/>
              <a:gd name="connsiteX125" fmla="*/ 518198 w 3778392"/>
              <a:gd name="connsiteY125" fmla="*/ 2390842 h 3322711"/>
              <a:gd name="connsiteX126" fmla="*/ 357014 w 3778392"/>
              <a:gd name="connsiteY126" fmla="*/ 2386891 h 3322711"/>
              <a:gd name="connsiteX127" fmla="*/ 106114 w 3778392"/>
              <a:gd name="connsiteY127" fmla="*/ 2480253 h 3322711"/>
              <a:gd name="connsiteX128" fmla="*/ 1054 w 3778392"/>
              <a:gd name="connsiteY128" fmla="*/ 2381915 h 3322711"/>
              <a:gd name="connsiteX129" fmla="*/ 63400 w 3778392"/>
              <a:gd name="connsiteY129" fmla="*/ 2334210 h 3322711"/>
              <a:gd name="connsiteX130" fmla="*/ 88558 w 3778392"/>
              <a:gd name="connsiteY130" fmla="*/ 2142363 h 3322711"/>
              <a:gd name="connsiteX131" fmla="*/ 88558 w 3778392"/>
              <a:gd name="connsiteY131" fmla="*/ 1985198 h 3322711"/>
              <a:gd name="connsiteX132" fmla="*/ 56640 w 3778392"/>
              <a:gd name="connsiteY132" fmla="*/ 1792562 h 3322711"/>
              <a:gd name="connsiteX133" fmla="*/ 51274 w 3778392"/>
              <a:gd name="connsiteY133" fmla="*/ 1769979 h 3322711"/>
              <a:gd name="connsiteX134" fmla="*/ 54068 w 3778392"/>
              <a:gd name="connsiteY134" fmla="*/ 1778242 h 3322711"/>
              <a:gd name="connsiteX135" fmla="*/ 64368 w 3778392"/>
              <a:gd name="connsiteY135" fmla="*/ 1798912 h 3322711"/>
              <a:gd name="connsiteX136" fmla="*/ 71002 w 3778392"/>
              <a:gd name="connsiteY136" fmla="*/ 1765693 h 3322711"/>
              <a:gd name="connsiteX137" fmla="*/ 113442 w 3778392"/>
              <a:gd name="connsiteY137" fmla="*/ 1814423 h 3322711"/>
              <a:gd name="connsiteX138" fmla="*/ 118418 w 3778392"/>
              <a:gd name="connsiteY138" fmla="*/ 1611455 h 3322711"/>
              <a:gd name="connsiteX139" fmla="*/ 151698 w 3778392"/>
              <a:gd name="connsiteY139" fmla="*/ 1493713 h 3322711"/>
              <a:gd name="connsiteX140" fmla="*/ 155612 w 3778392"/>
              <a:gd name="connsiteY140" fmla="*/ 1492461 h 3322711"/>
              <a:gd name="connsiteX141" fmla="*/ 155672 w 3778392"/>
              <a:gd name="connsiteY141" fmla="*/ 1493563 h 3322711"/>
              <a:gd name="connsiteX142" fmla="*/ 167906 w 3778392"/>
              <a:gd name="connsiteY142" fmla="*/ 1519556 h 3322711"/>
              <a:gd name="connsiteX143" fmla="*/ 324944 w 3778392"/>
              <a:gd name="connsiteY143" fmla="*/ 1399414 h 3322711"/>
              <a:gd name="connsiteX144" fmla="*/ 444104 w 3778392"/>
              <a:gd name="connsiteY144" fmla="*/ 1373220 h 3322711"/>
              <a:gd name="connsiteX145" fmla="*/ 528152 w 3778392"/>
              <a:gd name="connsiteY145" fmla="*/ 1336489 h 3322711"/>
              <a:gd name="connsiteX146" fmla="*/ 712560 w 3778392"/>
              <a:gd name="connsiteY146" fmla="*/ 1232005 h 3322711"/>
              <a:gd name="connsiteX147" fmla="*/ 817620 w 3778392"/>
              <a:gd name="connsiteY147" fmla="*/ 1070450 h 3322711"/>
              <a:gd name="connsiteX148" fmla="*/ 848170 w 3778392"/>
              <a:gd name="connsiteY148" fmla="*/ 1145081 h 3322711"/>
              <a:gd name="connsiteX149" fmla="*/ 858262 w 3778392"/>
              <a:gd name="connsiteY149" fmla="*/ 1102644 h 3322711"/>
              <a:gd name="connsiteX150" fmla="*/ 888950 w 3778392"/>
              <a:gd name="connsiteY150" fmla="*/ 1054938 h 3322711"/>
              <a:gd name="connsiteX151" fmla="*/ 946594 w 3778392"/>
              <a:gd name="connsiteY151" fmla="*/ 981477 h 3322711"/>
              <a:gd name="connsiteX152" fmla="*/ 1184224 w 3778392"/>
              <a:gd name="connsiteY152" fmla="*/ 955430 h 3322711"/>
              <a:gd name="connsiteX153" fmla="*/ 1287624 w 3778392"/>
              <a:gd name="connsiteY153" fmla="*/ 936259 h 3322711"/>
              <a:gd name="connsiteX154" fmla="*/ 1388952 w 3778392"/>
              <a:gd name="connsiteY154" fmla="*/ 762266 h 3322711"/>
              <a:gd name="connsiteX155" fmla="*/ 1462908 w 3778392"/>
              <a:gd name="connsiteY155" fmla="*/ 687195 h 3322711"/>
              <a:gd name="connsiteX156" fmla="*/ 1511844 w 3778392"/>
              <a:gd name="connsiteY156" fmla="*/ 678708 h 3322711"/>
              <a:gd name="connsiteX157" fmla="*/ 1583728 w 3778392"/>
              <a:gd name="connsiteY157" fmla="*/ 725243 h 3322711"/>
              <a:gd name="connsiteX158" fmla="*/ 1675240 w 3778392"/>
              <a:gd name="connsiteY158" fmla="*/ 756120 h 3322711"/>
              <a:gd name="connsiteX159" fmla="*/ 1782374 w 3778392"/>
              <a:gd name="connsiteY159" fmla="*/ 752461 h 3322711"/>
              <a:gd name="connsiteX160" fmla="*/ 1711320 w 3778392"/>
              <a:gd name="connsiteY160" fmla="*/ 862945 h 3322711"/>
              <a:gd name="connsiteX161" fmla="*/ 1708280 w 3778392"/>
              <a:gd name="connsiteY161" fmla="*/ 1001525 h 3322711"/>
              <a:gd name="connsiteX162" fmla="*/ 1834628 w 3778392"/>
              <a:gd name="connsiteY162" fmla="*/ 1088010 h 3322711"/>
              <a:gd name="connsiteX163" fmla="*/ 1987242 w 3778392"/>
              <a:gd name="connsiteY163" fmla="*/ 1154008 h 3322711"/>
              <a:gd name="connsiteX164" fmla="*/ 2078340 w 3778392"/>
              <a:gd name="connsiteY164" fmla="*/ 879920 h 3322711"/>
              <a:gd name="connsiteX165" fmla="*/ 2117460 w 3778392"/>
              <a:gd name="connsiteY165" fmla="*/ 737827 h 3322711"/>
              <a:gd name="connsiteX166" fmla="*/ 2178392 w 3778392"/>
              <a:gd name="connsiteY166" fmla="*/ 655248 h 3322711"/>
              <a:gd name="connsiteX167" fmla="*/ 2679946 w 3778392"/>
              <a:gd name="connsiteY167" fmla="*/ 281258 h 3322711"/>
              <a:gd name="connsiteX168" fmla="*/ 2679946 w 3778392"/>
              <a:gd name="connsiteY168" fmla="*/ 281258 h 3322711"/>
              <a:gd name="connsiteX169" fmla="*/ 2748096 w 3778392"/>
              <a:gd name="connsiteY169" fmla="*/ 27950 h 3322711"/>
              <a:gd name="connsiteX170" fmla="*/ 2900434 w 3778392"/>
              <a:gd name="connsiteY170" fmla="*/ 206041 h 3322711"/>
              <a:gd name="connsiteX171" fmla="*/ 2887716 w 3778392"/>
              <a:gd name="connsiteY171" fmla="*/ 168726 h 3322711"/>
              <a:gd name="connsiteX172" fmla="*/ 2679946 w 3778392"/>
              <a:gd name="connsiteY172" fmla="*/ 281258 h 3322711"/>
              <a:gd name="connsiteX173" fmla="*/ 2608062 w 3778392"/>
              <a:gd name="connsiteY173" fmla="*/ 241309 h 3322711"/>
              <a:gd name="connsiteX174" fmla="*/ 2816662 w 3778392"/>
              <a:gd name="connsiteY174" fmla="*/ 198725 h 3322711"/>
              <a:gd name="connsiteX175" fmla="*/ 2883016 w 3778392"/>
              <a:gd name="connsiteY175" fmla="*/ 154677 h 3322711"/>
              <a:gd name="connsiteX176" fmla="*/ 2748096 w 3778392"/>
              <a:gd name="connsiteY176" fmla="*/ 27950 h 3322711"/>
              <a:gd name="connsiteX177" fmla="*/ 2109996 w 3778392"/>
              <a:gd name="connsiteY177" fmla="*/ 0 h 3322711"/>
              <a:gd name="connsiteX178" fmla="*/ 2375686 w 3778392"/>
              <a:gd name="connsiteY178" fmla="*/ 113411 h 3322711"/>
              <a:gd name="connsiteX179" fmla="*/ 2454066 w 3778392"/>
              <a:gd name="connsiteY179" fmla="*/ 216724 h 3322711"/>
              <a:gd name="connsiteX180" fmla="*/ 2583180 w 3778392"/>
              <a:gd name="connsiteY180" fmla="*/ 337451 h 3322711"/>
              <a:gd name="connsiteX181" fmla="*/ 2522908 w 3778392"/>
              <a:gd name="connsiteY181" fmla="*/ 340378 h 3322711"/>
              <a:gd name="connsiteX182" fmla="*/ 2616496 w 3778392"/>
              <a:gd name="connsiteY182" fmla="*/ 484080 h 3322711"/>
              <a:gd name="connsiteX183" fmla="*/ 2653542 w 3778392"/>
              <a:gd name="connsiteY183" fmla="*/ 525201 h 3322711"/>
              <a:gd name="connsiteX184" fmla="*/ 2708976 w 3778392"/>
              <a:gd name="connsiteY184" fmla="*/ 640953 h 3322711"/>
              <a:gd name="connsiteX185" fmla="*/ 2471624 w 3778392"/>
              <a:gd name="connsiteY185" fmla="*/ 522713 h 3322711"/>
              <a:gd name="connsiteX186" fmla="*/ 2256250 w 3778392"/>
              <a:gd name="connsiteY186" fmla="*/ 455545 h 3322711"/>
              <a:gd name="connsiteX187" fmla="*/ 2080690 w 3778392"/>
              <a:gd name="connsiteY187" fmla="*/ 511445 h 3322711"/>
              <a:gd name="connsiteX188" fmla="*/ 2074744 w 3778392"/>
              <a:gd name="connsiteY188" fmla="*/ 325159 h 3322711"/>
              <a:gd name="connsiteX189" fmla="*/ 2109996 w 3778392"/>
              <a:gd name="connsiteY189" fmla="*/ 0 h 332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3778392" h="3322711">
                <a:moveTo>
                  <a:pt x="1849142" y="2908141"/>
                </a:moveTo>
                <a:cubicBezTo>
                  <a:pt x="1819698" y="2904775"/>
                  <a:pt x="1726526" y="3160863"/>
                  <a:pt x="1622572" y="3110524"/>
                </a:cubicBezTo>
                <a:cubicBezTo>
                  <a:pt x="1575848" y="3087988"/>
                  <a:pt x="1611098" y="2994479"/>
                  <a:pt x="1617042" y="2959651"/>
                </a:cubicBezTo>
                <a:cubicBezTo>
                  <a:pt x="1633216" y="2867020"/>
                  <a:pt x="1728324" y="2932286"/>
                  <a:pt x="1791774" y="2924677"/>
                </a:cubicBezTo>
                <a:cubicBezTo>
                  <a:pt x="1773942" y="2926872"/>
                  <a:pt x="1811956" y="2922335"/>
                  <a:pt x="1791774" y="2924677"/>
                </a:cubicBezTo>
                <a:cubicBezTo>
                  <a:pt x="1810298" y="2917067"/>
                  <a:pt x="1829374" y="2911507"/>
                  <a:pt x="1849142" y="2908141"/>
                </a:cubicBezTo>
                <a:close/>
                <a:moveTo>
                  <a:pt x="3261966" y="2834639"/>
                </a:moveTo>
                <a:cubicBezTo>
                  <a:pt x="3247272" y="2841681"/>
                  <a:pt x="3261966" y="2834639"/>
                  <a:pt x="3261966" y="2834639"/>
                </a:cubicBezTo>
                <a:close/>
                <a:moveTo>
                  <a:pt x="3548440" y="2330393"/>
                </a:moveTo>
                <a:cubicBezTo>
                  <a:pt x="3560250" y="2329033"/>
                  <a:pt x="3557824" y="2333085"/>
                  <a:pt x="3557676" y="2342469"/>
                </a:cubicBezTo>
                <a:cubicBezTo>
                  <a:pt x="3557444" y="2355053"/>
                  <a:pt x="3558626" y="2365610"/>
                  <a:pt x="3570182" y="2372755"/>
                </a:cubicBezTo>
                <a:cubicBezTo>
                  <a:pt x="3590512" y="2385311"/>
                  <a:pt x="3612698" y="2389230"/>
                  <a:pt x="3612380" y="2418262"/>
                </a:cubicBezTo>
                <a:cubicBezTo>
                  <a:pt x="3612064" y="2445242"/>
                  <a:pt x="3597850" y="2467556"/>
                  <a:pt x="3587242" y="2491283"/>
                </a:cubicBezTo>
                <a:cubicBezTo>
                  <a:pt x="3582498" y="2501920"/>
                  <a:pt x="3579018" y="2513570"/>
                  <a:pt x="3585724" y="2524207"/>
                </a:cubicBezTo>
                <a:cubicBezTo>
                  <a:pt x="3591882" y="2533938"/>
                  <a:pt x="3603714" y="2537244"/>
                  <a:pt x="3611938" y="2527913"/>
                </a:cubicBezTo>
                <a:cubicBezTo>
                  <a:pt x="3598314" y="2543349"/>
                  <a:pt x="3617590" y="2521595"/>
                  <a:pt x="3611938" y="2527913"/>
                </a:cubicBezTo>
                <a:cubicBezTo>
                  <a:pt x="3618728" y="2520288"/>
                  <a:pt x="3626404" y="2506372"/>
                  <a:pt x="3625414" y="2495815"/>
                </a:cubicBezTo>
                <a:cubicBezTo>
                  <a:pt x="3640470" y="2491336"/>
                  <a:pt x="3637224" y="2519035"/>
                  <a:pt x="3635936" y="2527433"/>
                </a:cubicBezTo>
                <a:cubicBezTo>
                  <a:pt x="3633532" y="2543375"/>
                  <a:pt x="3625244" y="2556545"/>
                  <a:pt x="3621406" y="2571848"/>
                </a:cubicBezTo>
                <a:cubicBezTo>
                  <a:pt x="3617358" y="2588217"/>
                  <a:pt x="3631866" y="2598960"/>
                  <a:pt x="3644710" y="2605545"/>
                </a:cubicBezTo>
                <a:cubicBezTo>
                  <a:pt x="3671008" y="2619035"/>
                  <a:pt x="3691716" y="2615489"/>
                  <a:pt x="3716242" y="2601013"/>
                </a:cubicBezTo>
                <a:cubicBezTo>
                  <a:pt x="3736276" y="2589203"/>
                  <a:pt x="3758124" y="2576646"/>
                  <a:pt x="3778392" y="2595495"/>
                </a:cubicBezTo>
                <a:cubicBezTo>
                  <a:pt x="3762870" y="2605732"/>
                  <a:pt x="3752578" y="2622314"/>
                  <a:pt x="3741254" y="2636604"/>
                </a:cubicBezTo>
                <a:cubicBezTo>
                  <a:pt x="3729044" y="2652066"/>
                  <a:pt x="3714176" y="2665609"/>
                  <a:pt x="3698276" y="2677153"/>
                </a:cubicBezTo>
                <a:cubicBezTo>
                  <a:pt x="3667444" y="2699547"/>
                  <a:pt x="3631382" y="2706611"/>
                  <a:pt x="3597282" y="2722127"/>
                </a:cubicBezTo>
                <a:cubicBezTo>
                  <a:pt x="3591186" y="2724873"/>
                  <a:pt x="3583004" y="2727806"/>
                  <a:pt x="3581128" y="2735190"/>
                </a:cubicBezTo>
                <a:cubicBezTo>
                  <a:pt x="3579250" y="2742548"/>
                  <a:pt x="3582920" y="2750120"/>
                  <a:pt x="3577394" y="2756598"/>
                </a:cubicBezTo>
                <a:cubicBezTo>
                  <a:pt x="3567568" y="2768088"/>
                  <a:pt x="3550106" y="2775526"/>
                  <a:pt x="3538738" y="2786243"/>
                </a:cubicBezTo>
                <a:cubicBezTo>
                  <a:pt x="3525812" y="2798427"/>
                  <a:pt x="3513622" y="2811463"/>
                  <a:pt x="3499260" y="2821967"/>
                </a:cubicBezTo>
                <a:cubicBezTo>
                  <a:pt x="3482812" y="2833937"/>
                  <a:pt x="3463600" y="2842228"/>
                  <a:pt x="3446308" y="2852999"/>
                </a:cubicBezTo>
                <a:cubicBezTo>
                  <a:pt x="3420390" y="2869181"/>
                  <a:pt x="3394302" y="2887549"/>
                  <a:pt x="3366254" y="2899973"/>
                </a:cubicBezTo>
                <a:cubicBezTo>
                  <a:pt x="3355224" y="2904878"/>
                  <a:pt x="3330762" y="2899120"/>
                  <a:pt x="3326670" y="2885150"/>
                </a:cubicBezTo>
                <a:lnTo>
                  <a:pt x="3331214" y="2876101"/>
                </a:lnTo>
                <a:lnTo>
                  <a:pt x="3308008" y="2896450"/>
                </a:lnTo>
                <a:cubicBezTo>
                  <a:pt x="3301724" y="2903212"/>
                  <a:pt x="3296894" y="2910984"/>
                  <a:pt x="3293444" y="2922925"/>
                </a:cubicBezTo>
                <a:cubicBezTo>
                  <a:pt x="3291132" y="2930924"/>
                  <a:pt x="3288558" y="2932588"/>
                  <a:pt x="3282368" y="2936918"/>
                </a:cubicBezTo>
                <a:cubicBezTo>
                  <a:pt x="3261408" y="2951526"/>
                  <a:pt x="3240560" y="2966134"/>
                  <a:pt x="3219636" y="2980764"/>
                </a:cubicBezTo>
                <a:cubicBezTo>
                  <a:pt x="3177268" y="3010322"/>
                  <a:pt x="3134938" y="3039926"/>
                  <a:pt x="3092606" y="3069529"/>
                </a:cubicBezTo>
                <a:cubicBezTo>
                  <a:pt x="3092904" y="3069324"/>
                  <a:pt x="3103422" y="3082519"/>
                  <a:pt x="3104578" y="3083886"/>
                </a:cubicBezTo>
                <a:cubicBezTo>
                  <a:pt x="3109204" y="3089424"/>
                  <a:pt x="3094322" y="3095851"/>
                  <a:pt x="3091226" y="3097241"/>
                </a:cubicBezTo>
                <a:cubicBezTo>
                  <a:pt x="3081604" y="3101525"/>
                  <a:pt x="3071422" y="3101366"/>
                  <a:pt x="3061016" y="3102186"/>
                </a:cubicBezTo>
                <a:cubicBezTo>
                  <a:pt x="3045650" y="3103508"/>
                  <a:pt x="3031590" y="3108453"/>
                  <a:pt x="3017082" y="3113353"/>
                </a:cubicBezTo>
                <a:cubicBezTo>
                  <a:pt x="2993922" y="3121215"/>
                  <a:pt x="2964458" y="3124976"/>
                  <a:pt x="2945250" y="3141088"/>
                </a:cubicBezTo>
                <a:cubicBezTo>
                  <a:pt x="2923022" y="3159775"/>
                  <a:pt x="2905046" y="3183521"/>
                  <a:pt x="2882594" y="3202300"/>
                </a:cubicBezTo>
                <a:cubicBezTo>
                  <a:pt x="2831908" y="3244643"/>
                  <a:pt x="2775554" y="3276024"/>
                  <a:pt x="2718268" y="3308111"/>
                </a:cubicBezTo>
                <a:cubicBezTo>
                  <a:pt x="2692458" y="3322537"/>
                  <a:pt x="2661728" y="3326889"/>
                  <a:pt x="2632786" y="3318389"/>
                </a:cubicBezTo>
                <a:cubicBezTo>
                  <a:pt x="2620440" y="3314765"/>
                  <a:pt x="2609476" y="3307883"/>
                  <a:pt x="2599070" y="3300431"/>
                </a:cubicBezTo>
                <a:cubicBezTo>
                  <a:pt x="2597318" y="3296921"/>
                  <a:pt x="2599070" y="3288467"/>
                  <a:pt x="2599070" y="3284410"/>
                </a:cubicBezTo>
                <a:cubicBezTo>
                  <a:pt x="2573000" y="3288991"/>
                  <a:pt x="2552300" y="3288786"/>
                  <a:pt x="2525708" y="3287099"/>
                </a:cubicBezTo>
                <a:cubicBezTo>
                  <a:pt x="2526642" y="3287145"/>
                  <a:pt x="2538650" y="3266612"/>
                  <a:pt x="2543722" y="3264492"/>
                </a:cubicBezTo>
                <a:cubicBezTo>
                  <a:pt x="2561028" y="3257268"/>
                  <a:pt x="2568450" y="3248084"/>
                  <a:pt x="2581018" y="3234957"/>
                </a:cubicBezTo>
                <a:cubicBezTo>
                  <a:pt x="2595228" y="3220121"/>
                  <a:pt x="2616264" y="3212236"/>
                  <a:pt x="2633606" y="3201753"/>
                </a:cubicBezTo>
                <a:cubicBezTo>
                  <a:pt x="2655126" y="3188695"/>
                  <a:pt x="2676646" y="3175750"/>
                  <a:pt x="2698278" y="3162852"/>
                </a:cubicBezTo>
                <a:cubicBezTo>
                  <a:pt x="2715694" y="3152505"/>
                  <a:pt x="2733074" y="3142364"/>
                  <a:pt x="2749820" y="3130969"/>
                </a:cubicBezTo>
                <a:cubicBezTo>
                  <a:pt x="2767610" y="3118914"/>
                  <a:pt x="2789130" y="3115951"/>
                  <a:pt x="2808972" y="3108841"/>
                </a:cubicBezTo>
                <a:cubicBezTo>
                  <a:pt x="2855666" y="3092159"/>
                  <a:pt x="2900942" y="3069483"/>
                  <a:pt x="2946444" y="3049793"/>
                </a:cubicBezTo>
                <a:cubicBezTo>
                  <a:pt x="2962854" y="3042706"/>
                  <a:pt x="2978630" y="3034525"/>
                  <a:pt x="2994108" y="3025568"/>
                </a:cubicBezTo>
                <a:cubicBezTo>
                  <a:pt x="3006640" y="3018321"/>
                  <a:pt x="3022864" y="3015336"/>
                  <a:pt x="3034424" y="3007314"/>
                </a:cubicBezTo>
                <a:cubicBezTo>
                  <a:pt x="3041100" y="3002665"/>
                  <a:pt x="3047852" y="2995988"/>
                  <a:pt x="3054006" y="2991521"/>
                </a:cubicBezTo>
                <a:cubicBezTo>
                  <a:pt x="3068066" y="2981403"/>
                  <a:pt x="3075562" y="2964128"/>
                  <a:pt x="3088130" y="2952574"/>
                </a:cubicBezTo>
                <a:cubicBezTo>
                  <a:pt x="3100848" y="2940792"/>
                  <a:pt x="3118378" y="2933750"/>
                  <a:pt x="3134676" y="2928394"/>
                </a:cubicBezTo>
                <a:cubicBezTo>
                  <a:pt x="3150862" y="2923062"/>
                  <a:pt x="3161678" y="2911462"/>
                  <a:pt x="3174770" y="2900477"/>
                </a:cubicBezTo>
                <a:cubicBezTo>
                  <a:pt x="3186816" y="2890313"/>
                  <a:pt x="3188046" y="2873654"/>
                  <a:pt x="3202032" y="2864288"/>
                </a:cubicBezTo>
                <a:cubicBezTo>
                  <a:pt x="3220232" y="2852096"/>
                  <a:pt x="3242200" y="2844119"/>
                  <a:pt x="3261966" y="2834639"/>
                </a:cubicBezTo>
                <a:cubicBezTo>
                  <a:pt x="3257082" y="2855127"/>
                  <a:pt x="3252158" y="2875592"/>
                  <a:pt x="3247236" y="2896079"/>
                </a:cubicBezTo>
                <a:cubicBezTo>
                  <a:pt x="3263086" y="2889220"/>
                  <a:pt x="3278862" y="2882337"/>
                  <a:pt x="3294676" y="2875500"/>
                </a:cubicBezTo>
                <a:cubicBezTo>
                  <a:pt x="3304260" y="2871319"/>
                  <a:pt x="3309324" y="2868168"/>
                  <a:pt x="3314038" y="2867704"/>
                </a:cubicBezTo>
                <a:lnTo>
                  <a:pt x="3331260" y="2876006"/>
                </a:lnTo>
                <a:lnTo>
                  <a:pt x="3332438" y="2873661"/>
                </a:lnTo>
                <a:cubicBezTo>
                  <a:pt x="3345326" y="2860957"/>
                  <a:pt x="3375090" y="2845981"/>
                  <a:pt x="3381354" y="2841082"/>
                </a:cubicBezTo>
                <a:cubicBezTo>
                  <a:pt x="3397676" y="2828339"/>
                  <a:pt x="3425808" y="2814103"/>
                  <a:pt x="3426378" y="2790082"/>
                </a:cubicBezTo>
                <a:cubicBezTo>
                  <a:pt x="3427138" y="2761743"/>
                  <a:pt x="3373088" y="2749267"/>
                  <a:pt x="3378570" y="2722447"/>
                </a:cubicBezTo>
                <a:cubicBezTo>
                  <a:pt x="3382936" y="2701546"/>
                  <a:pt x="3423342" y="2700933"/>
                  <a:pt x="3438252" y="2692988"/>
                </a:cubicBezTo>
                <a:cubicBezTo>
                  <a:pt x="3463664" y="2679419"/>
                  <a:pt x="3477688" y="2658651"/>
                  <a:pt x="3497426" y="2638603"/>
                </a:cubicBezTo>
                <a:cubicBezTo>
                  <a:pt x="3546984" y="2588163"/>
                  <a:pt x="3549304" y="2526287"/>
                  <a:pt x="3540004" y="2459878"/>
                </a:cubicBezTo>
                <a:cubicBezTo>
                  <a:pt x="3536694" y="2436391"/>
                  <a:pt x="3523556" y="2400374"/>
                  <a:pt x="3540680" y="2381446"/>
                </a:cubicBezTo>
                <a:cubicBezTo>
                  <a:pt x="3549558" y="2371582"/>
                  <a:pt x="3542114" y="2348228"/>
                  <a:pt x="3540574" y="2336471"/>
                </a:cubicBezTo>
                <a:cubicBezTo>
                  <a:pt x="3539710" y="2329753"/>
                  <a:pt x="3538738" y="2331566"/>
                  <a:pt x="3548440" y="2330393"/>
                </a:cubicBezTo>
                <a:close/>
                <a:moveTo>
                  <a:pt x="51152" y="1769618"/>
                </a:moveTo>
                <a:lnTo>
                  <a:pt x="51216" y="1769741"/>
                </a:lnTo>
                <a:lnTo>
                  <a:pt x="51274" y="1769979"/>
                </a:lnTo>
                <a:close/>
                <a:moveTo>
                  <a:pt x="46258" y="1760425"/>
                </a:moveTo>
                <a:cubicBezTo>
                  <a:pt x="47502" y="1760754"/>
                  <a:pt x="48738" y="1763004"/>
                  <a:pt x="50020" y="1766274"/>
                </a:cubicBezTo>
                <a:lnTo>
                  <a:pt x="51152" y="1769618"/>
                </a:lnTo>
                <a:close/>
                <a:moveTo>
                  <a:pt x="2638296" y="1694404"/>
                </a:moveTo>
                <a:cubicBezTo>
                  <a:pt x="2638672" y="1695131"/>
                  <a:pt x="2645698" y="1709317"/>
                  <a:pt x="2640824" y="1699549"/>
                </a:cubicBezTo>
                <a:cubicBezTo>
                  <a:pt x="2638786" y="1695415"/>
                  <a:pt x="2638172" y="1694162"/>
                  <a:pt x="2638296" y="1694404"/>
                </a:cubicBezTo>
                <a:close/>
                <a:moveTo>
                  <a:pt x="155442" y="1489411"/>
                </a:moveTo>
                <a:lnTo>
                  <a:pt x="165142" y="1489411"/>
                </a:lnTo>
                <a:lnTo>
                  <a:pt x="155612" y="1492461"/>
                </a:lnTo>
                <a:close/>
                <a:moveTo>
                  <a:pt x="154960" y="1480725"/>
                </a:moveTo>
                <a:lnTo>
                  <a:pt x="155442" y="1489411"/>
                </a:lnTo>
                <a:lnTo>
                  <a:pt x="154636" y="1489411"/>
                </a:lnTo>
                <a:cubicBezTo>
                  <a:pt x="154948" y="1481143"/>
                  <a:pt x="154922" y="1479140"/>
                  <a:pt x="154960" y="1480725"/>
                </a:cubicBezTo>
                <a:close/>
                <a:moveTo>
                  <a:pt x="2178392" y="655248"/>
                </a:moveTo>
                <a:cubicBezTo>
                  <a:pt x="2186128" y="659842"/>
                  <a:pt x="2192816" y="682787"/>
                  <a:pt x="2201370" y="734315"/>
                </a:cubicBezTo>
                <a:cubicBezTo>
                  <a:pt x="2209802" y="785972"/>
                  <a:pt x="2214916" y="838214"/>
                  <a:pt x="2223350" y="889725"/>
                </a:cubicBezTo>
                <a:cubicBezTo>
                  <a:pt x="2233026" y="948844"/>
                  <a:pt x="2249614" y="901285"/>
                  <a:pt x="2281548" y="903919"/>
                </a:cubicBezTo>
                <a:cubicBezTo>
                  <a:pt x="2359374" y="909919"/>
                  <a:pt x="2309194" y="1225859"/>
                  <a:pt x="2347900" y="1276052"/>
                </a:cubicBezTo>
                <a:cubicBezTo>
                  <a:pt x="2368222" y="1302539"/>
                  <a:pt x="2493050" y="1327855"/>
                  <a:pt x="2476184" y="1377902"/>
                </a:cubicBezTo>
                <a:cubicBezTo>
                  <a:pt x="2468168" y="1401170"/>
                  <a:pt x="2522494" y="1521312"/>
                  <a:pt x="2519038" y="1524970"/>
                </a:cubicBezTo>
                <a:cubicBezTo>
                  <a:pt x="2521112" y="1516337"/>
                  <a:pt x="2523048" y="1507703"/>
                  <a:pt x="2525120" y="1499069"/>
                </a:cubicBezTo>
                <a:cubicBezTo>
                  <a:pt x="2586222" y="1496727"/>
                  <a:pt x="2560094" y="1575603"/>
                  <a:pt x="2567974" y="1607065"/>
                </a:cubicBezTo>
                <a:cubicBezTo>
                  <a:pt x="2578618" y="1649356"/>
                  <a:pt x="2623130" y="1663697"/>
                  <a:pt x="2640824" y="1699549"/>
                </a:cubicBezTo>
                <a:cubicBezTo>
                  <a:pt x="2666676" y="1751791"/>
                  <a:pt x="2670822" y="1830667"/>
                  <a:pt x="2635572" y="1880275"/>
                </a:cubicBezTo>
                <a:cubicBezTo>
                  <a:pt x="2623684" y="1897103"/>
                  <a:pt x="2640548" y="1961784"/>
                  <a:pt x="2638198" y="1984759"/>
                </a:cubicBezTo>
                <a:cubicBezTo>
                  <a:pt x="2631148" y="2051196"/>
                  <a:pt x="2540464" y="2091292"/>
                  <a:pt x="2530788" y="2157729"/>
                </a:cubicBezTo>
                <a:cubicBezTo>
                  <a:pt x="2523324" y="2209239"/>
                  <a:pt x="2453928" y="2279480"/>
                  <a:pt x="2411076" y="2305382"/>
                </a:cubicBezTo>
                <a:cubicBezTo>
                  <a:pt x="2281686" y="2383964"/>
                  <a:pt x="2198328" y="2537032"/>
                  <a:pt x="2103774" y="2650735"/>
                </a:cubicBezTo>
                <a:cubicBezTo>
                  <a:pt x="2060784" y="2702392"/>
                  <a:pt x="1991250" y="2686734"/>
                  <a:pt x="1931808" y="2712197"/>
                </a:cubicBezTo>
                <a:cubicBezTo>
                  <a:pt x="1909690" y="2721709"/>
                  <a:pt x="1823430" y="2785657"/>
                  <a:pt x="1805460" y="2783901"/>
                </a:cubicBezTo>
                <a:cubicBezTo>
                  <a:pt x="1766754" y="2780535"/>
                  <a:pt x="1773804" y="2720099"/>
                  <a:pt x="1770210" y="2705758"/>
                </a:cubicBezTo>
                <a:cubicBezTo>
                  <a:pt x="1767582" y="2695221"/>
                  <a:pt x="1657960" y="2765317"/>
                  <a:pt x="1642756" y="2762683"/>
                </a:cubicBezTo>
                <a:cubicBezTo>
                  <a:pt x="1603358" y="2755805"/>
                  <a:pt x="1525944" y="2724343"/>
                  <a:pt x="1492216" y="2700929"/>
                </a:cubicBezTo>
                <a:cubicBezTo>
                  <a:pt x="1441896" y="2665808"/>
                  <a:pt x="1510186" y="2595274"/>
                  <a:pt x="1497882" y="2548885"/>
                </a:cubicBezTo>
                <a:cubicBezTo>
                  <a:pt x="1490004" y="2518301"/>
                  <a:pt x="1432774" y="2528252"/>
                  <a:pt x="1431530" y="2519472"/>
                </a:cubicBezTo>
                <a:cubicBezTo>
                  <a:pt x="1429870" y="2507911"/>
                  <a:pt x="1511706" y="2438401"/>
                  <a:pt x="1465950" y="2418061"/>
                </a:cubicBezTo>
                <a:cubicBezTo>
                  <a:pt x="1472308" y="2420841"/>
                  <a:pt x="1385634" y="2497814"/>
                  <a:pt x="1353840" y="2495619"/>
                </a:cubicBezTo>
                <a:cubicBezTo>
                  <a:pt x="1378170" y="2460205"/>
                  <a:pt x="1416324" y="2437670"/>
                  <a:pt x="1444662" y="2396988"/>
                </a:cubicBezTo>
                <a:cubicBezTo>
                  <a:pt x="1466642" y="2365672"/>
                  <a:pt x="1475350" y="2331869"/>
                  <a:pt x="1491800" y="2303772"/>
                </a:cubicBezTo>
                <a:cubicBezTo>
                  <a:pt x="1448948" y="2377525"/>
                  <a:pt x="1347066" y="2416158"/>
                  <a:pt x="1284860" y="2472351"/>
                </a:cubicBezTo>
                <a:cubicBezTo>
                  <a:pt x="1282924" y="2444401"/>
                  <a:pt x="1295780" y="2365672"/>
                  <a:pt x="1273940" y="2339771"/>
                </a:cubicBezTo>
                <a:cubicBezTo>
                  <a:pt x="1258456" y="2321186"/>
                  <a:pt x="1265092" y="2275822"/>
                  <a:pt x="1249886" y="2269090"/>
                </a:cubicBezTo>
                <a:cubicBezTo>
                  <a:pt x="1164456" y="2231189"/>
                  <a:pt x="1084140" y="2212312"/>
                  <a:pt x="991798" y="2217287"/>
                </a:cubicBezTo>
                <a:cubicBezTo>
                  <a:pt x="875126" y="2223287"/>
                  <a:pt x="758178" y="2290748"/>
                  <a:pt x="643994" y="2310943"/>
                </a:cubicBezTo>
                <a:cubicBezTo>
                  <a:pt x="586764" y="2321186"/>
                  <a:pt x="580958" y="2388501"/>
                  <a:pt x="518198" y="2390842"/>
                </a:cubicBezTo>
                <a:cubicBezTo>
                  <a:pt x="464700" y="2393037"/>
                  <a:pt x="410650" y="2384549"/>
                  <a:pt x="357014" y="2386891"/>
                </a:cubicBezTo>
                <a:cubicBezTo>
                  <a:pt x="270340" y="2390549"/>
                  <a:pt x="198596" y="2470303"/>
                  <a:pt x="106114" y="2480253"/>
                </a:cubicBezTo>
                <a:cubicBezTo>
                  <a:pt x="70726" y="2484058"/>
                  <a:pt x="-10142" y="2419378"/>
                  <a:pt x="1054" y="2381915"/>
                </a:cubicBezTo>
                <a:cubicBezTo>
                  <a:pt x="7828" y="2359673"/>
                  <a:pt x="46258" y="2367721"/>
                  <a:pt x="63400" y="2334210"/>
                </a:cubicBezTo>
                <a:cubicBezTo>
                  <a:pt x="99894" y="2263529"/>
                  <a:pt x="103350" y="2216702"/>
                  <a:pt x="88558" y="2142363"/>
                </a:cubicBezTo>
                <a:cubicBezTo>
                  <a:pt x="77638" y="2088219"/>
                  <a:pt x="107358" y="2041098"/>
                  <a:pt x="88558" y="1985198"/>
                </a:cubicBezTo>
                <a:cubicBezTo>
                  <a:pt x="80678" y="1962040"/>
                  <a:pt x="67824" y="1848996"/>
                  <a:pt x="56640" y="1792562"/>
                </a:cubicBezTo>
                <a:lnTo>
                  <a:pt x="51274" y="1769979"/>
                </a:lnTo>
                <a:lnTo>
                  <a:pt x="54068" y="1778242"/>
                </a:lnTo>
                <a:cubicBezTo>
                  <a:pt x="56936" y="1787058"/>
                  <a:pt x="60220" y="1796351"/>
                  <a:pt x="64368" y="1798912"/>
                </a:cubicBezTo>
                <a:cubicBezTo>
                  <a:pt x="75980" y="1806082"/>
                  <a:pt x="71140" y="1765108"/>
                  <a:pt x="71002" y="1765693"/>
                </a:cubicBezTo>
                <a:cubicBezTo>
                  <a:pt x="74182" y="1750182"/>
                  <a:pt x="96714" y="1834471"/>
                  <a:pt x="113442" y="1814423"/>
                </a:cubicBezTo>
                <a:cubicBezTo>
                  <a:pt x="159750" y="1758669"/>
                  <a:pt x="49990" y="1682428"/>
                  <a:pt x="118418" y="1611455"/>
                </a:cubicBezTo>
                <a:cubicBezTo>
                  <a:pt x="137772" y="1591352"/>
                  <a:pt x="126114" y="1512989"/>
                  <a:pt x="151698" y="1493713"/>
                </a:cubicBezTo>
                <a:lnTo>
                  <a:pt x="155612" y="1492461"/>
                </a:lnTo>
                <a:lnTo>
                  <a:pt x="155672" y="1493563"/>
                </a:lnTo>
                <a:cubicBezTo>
                  <a:pt x="156812" y="1505727"/>
                  <a:pt x="159820" y="1521532"/>
                  <a:pt x="167906" y="1519556"/>
                </a:cubicBezTo>
                <a:cubicBezTo>
                  <a:pt x="209516" y="1509020"/>
                  <a:pt x="286790" y="1426925"/>
                  <a:pt x="324944" y="1399414"/>
                </a:cubicBezTo>
                <a:cubicBezTo>
                  <a:pt x="361300" y="1373366"/>
                  <a:pt x="401526" y="1394146"/>
                  <a:pt x="444104" y="1373220"/>
                </a:cubicBezTo>
                <a:cubicBezTo>
                  <a:pt x="458480" y="1366195"/>
                  <a:pt x="512254" y="1335319"/>
                  <a:pt x="528152" y="1336489"/>
                </a:cubicBezTo>
                <a:cubicBezTo>
                  <a:pt x="645930" y="1344830"/>
                  <a:pt x="649108" y="1291271"/>
                  <a:pt x="712560" y="1232005"/>
                </a:cubicBezTo>
                <a:cubicBezTo>
                  <a:pt x="720024" y="1224981"/>
                  <a:pt x="811952" y="1059182"/>
                  <a:pt x="817620" y="1070450"/>
                </a:cubicBezTo>
                <a:cubicBezTo>
                  <a:pt x="827434" y="1095620"/>
                  <a:pt x="836972" y="1120497"/>
                  <a:pt x="848170" y="1145081"/>
                </a:cubicBezTo>
                <a:cubicBezTo>
                  <a:pt x="851626" y="1131033"/>
                  <a:pt x="854944" y="1116839"/>
                  <a:pt x="858262" y="1102644"/>
                </a:cubicBezTo>
                <a:cubicBezTo>
                  <a:pt x="876784" y="1140545"/>
                  <a:pt x="820798" y="1035622"/>
                  <a:pt x="888950" y="1054938"/>
                </a:cubicBezTo>
                <a:cubicBezTo>
                  <a:pt x="934568" y="1067816"/>
                  <a:pt x="908302" y="1001965"/>
                  <a:pt x="946594" y="981477"/>
                </a:cubicBezTo>
                <a:cubicBezTo>
                  <a:pt x="995530" y="955283"/>
                  <a:pt x="1179386" y="765924"/>
                  <a:pt x="1184224" y="955430"/>
                </a:cubicBezTo>
                <a:cubicBezTo>
                  <a:pt x="1184224" y="935821"/>
                  <a:pt x="1295504" y="959673"/>
                  <a:pt x="1287624" y="936259"/>
                </a:cubicBezTo>
                <a:cubicBezTo>
                  <a:pt x="1268962" y="880213"/>
                  <a:pt x="1336008" y="797386"/>
                  <a:pt x="1388952" y="762266"/>
                </a:cubicBezTo>
                <a:cubicBezTo>
                  <a:pt x="1443970" y="725974"/>
                  <a:pt x="1560366" y="766070"/>
                  <a:pt x="1462908" y="687195"/>
                </a:cubicBezTo>
                <a:cubicBezTo>
                  <a:pt x="1449500" y="676366"/>
                  <a:pt x="1494150" y="660855"/>
                  <a:pt x="1511844" y="678708"/>
                </a:cubicBezTo>
                <a:cubicBezTo>
                  <a:pt x="1532442" y="699048"/>
                  <a:pt x="1556356" y="714560"/>
                  <a:pt x="1583728" y="725243"/>
                </a:cubicBezTo>
                <a:cubicBezTo>
                  <a:pt x="1590778" y="728608"/>
                  <a:pt x="1669020" y="757437"/>
                  <a:pt x="1675240" y="756120"/>
                </a:cubicBezTo>
                <a:cubicBezTo>
                  <a:pt x="1715606" y="746900"/>
                  <a:pt x="1747124" y="706219"/>
                  <a:pt x="1782374" y="752461"/>
                </a:cubicBezTo>
                <a:cubicBezTo>
                  <a:pt x="1802834" y="779533"/>
                  <a:pt x="1711320" y="827824"/>
                  <a:pt x="1711320" y="862945"/>
                </a:cubicBezTo>
                <a:cubicBezTo>
                  <a:pt x="1711320" y="934503"/>
                  <a:pt x="1646350" y="930845"/>
                  <a:pt x="1708280" y="1001525"/>
                </a:cubicBezTo>
                <a:cubicBezTo>
                  <a:pt x="1727356" y="1023330"/>
                  <a:pt x="1808086" y="1074840"/>
                  <a:pt x="1834628" y="1088010"/>
                </a:cubicBezTo>
                <a:cubicBezTo>
                  <a:pt x="1888126" y="1114643"/>
                  <a:pt x="1914114" y="1189421"/>
                  <a:pt x="1987242" y="1154008"/>
                </a:cubicBezTo>
                <a:cubicBezTo>
                  <a:pt x="2065344" y="1116253"/>
                  <a:pt x="2071428" y="951478"/>
                  <a:pt x="2078340" y="879920"/>
                </a:cubicBezTo>
                <a:cubicBezTo>
                  <a:pt x="2081656" y="845092"/>
                  <a:pt x="2098936" y="764900"/>
                  <a:pt x="2117460" y="737827"/>
                </a:cubicBezTo>
                <a:cubicBezTo>
                  <a:pt x="2149686" y="690908"/>
                  <a:pt x="2165496" y="647591"/>
                  <a:pt x="2178392" y="655248"/>
                </a:cubicBezTo>
                <a:close/>
                <a:moveTo>
                  <a:pt x="2679946" y="281258"/>
                </a:moveTo>
                <a:cubicBezTo>
                  <a:pt x="2668748" y="276868"/>
                  <a:pt x="2714920" y="294868"/>
                  <a:pt x="2679946" y="281258"/>
                </a:cubicBezTo>
                <a:close/>
                <a:moveTo>
                  <a:pt x="2748096" y="27950"/>
                </a:moveTo>
                <a:cubicBezTo>
                  <a:pt x="2791226" y="47559"/>
                  <a:pt x="2975772" y="139312"/>
                  <a:pt x="2900434" y="206041"/>
                </a:cubicBezTo>
                <a:cubicBezTo>
                  <a:pt x="2890896" y="196237"/>
                  <a:pt x="2886610" y="183798"/>
                  <a:pt x="2887716" y="168726"/>
                </a:cubicBezTo>
                <a:cubicBezTo>
                  <a:pt x="2890066" y="246430"/>
                  <a:pt x="2739112" y="304233"/>
                  <a:pt x="2679946" y="281258"/>
                </a:cubicBezTo>
                <a:cubicBezTo>
                  <a:pt x="2668748" y="276868"/>
                  <a:pt x="2603500" y="254186"/>
                  <a:pt x="2608062" y="241309"/>
                </a:cubicBezTo>
                <a:cubicBezTo>
                  <a:pt x="2695290" y="233406"/>
                  <a:pt x="2740908" y="231797"/>
                  <a:pt x="2816662" y="198725"/>
                </a:cubicBezTo>
                <a:cubicBezTo>
                  <a:pt x="2829656" y="193018"/>
                  <a:pt x="2835600" y="86046"/>
                  <a:pt x="2883016" y="154677"/>
                </a:cubicBezTo>
                <a:cubicBezTo>
                  <a:pt x="2857856" y="87948"/>
                  <a:pt x="2773532" y="88387"/>
                  <a:pt x="2748096" y="27950"/>
                </a:cubicBezTo>
                <a:close/>
                <a:moveTo>
                  <a:pt x="2109996" y="0"/>
                </a:moveTo>
                <a:cubicBezTo>
                  <a:pt x="2151190" y="4975"/>
                  <a:pt x="2367254" y="75217"/>
                  <a:pt x="2375686" y="113411"/>
                </a:cubicBezTo>
                <a:cubicBezTo>
                  <a:pt x="2410660" y="103752"/>
                  <a:pt x="2472038" y="184676"/>
                  <a:pt x="2454066" y="216724"/>
                </a:cubicBezTo>
                <a:cubicBezTo>
                  <a:pt x="2510882" y="211017"/>
                  <a:pt x="2598248" y="277015"/>
                  <a:pt x="2583180" y="337451"/>
                </a:cubicBezTo>
                <a:cubicBezTo>
                  <a:pt x="2563136" y="340378"/>
                  <a:pt x="2542538" y="337012"/>
                  <a:pt x="2522908" y="340378"/>
                </a:cubicBezTo>
                <a:cubicBezTo>
                  <a:pt x="2530512" y="361743"/>
                  <a:pt x="2608200" y="482032"/>
                  <a:pt x="2616496" y="484080"/>
                </a:cubicBezTo>
                <a:cubicBezTo>
                  <a:pt x="2641930" y="481154"/>
                  <a:pt x="2666814" y="493739"/>
                  <a:pt x="2653542" y="525201"/>
                </a:cubicBezTo>
                <a:cubicBezTo>
                  <a:pt x="2691972" y="525786"/>
                  <a:pt x="2790258" y="640953"/>
                  <a:pt x="2708976" y="640953"/>
                </a:cubicBezTo>
                <a:cubicBezTo>
                  <a:pt x="2635296" y="640953"/>
                  <a:pt x="2506736" y="577443"/>
                  <a:pt x="2471624" y="522713"/>
                </a:cubicBezTo>
                <a:cubicBezTo>
                  <a:pt x="2405684" y="440180"/>
                  <a:pt x="2364628" y="379889"/>
                  <a:pt x="2256250" y="455545"/>
                </a:cubicBezTo>
                <a:cubicBezTo>
                  <a:pt x="2301454" y="546127"/>
                  <a:pt x="2129348" y="541737"/>
                  <a:pt x="2080690" y="511445"/>
                </a:cubicBezTo>
                <a:cubicBezTo>
                  <a:pt x="2092162" y="464032"/>
                  <a:pt x="2114834" y="359695"/>
                  <a:pt x="2074744" y="325159"/>
                </a:cubicBezTo>
                <a:cubicBezTo>
                  <a:pt x="2129210" y="245991"/>
                  <a:pt x="2104052" y="94533"/>
                  <a:pt x="2109996" y="0"/>
                </a:cubicBezTo>
                <a:close/>
              </a:path>
            </a:pathLst>
          </a:custGeom>
          <a:solidFill>
            <a:schemeClr val="tx1">
              <a:lumMod val="20000"/>
              <a:lumOff val="80000"/>
            </a:schemeClr>
          </a:solidFill>
          <a:ln w="12700" cap="flat">
            <a:noFill/>
            <a:miter lim="400000"/>
          </a:ln>
          <a:effectLst/>
        </p:spPr>
        <p:txBody>
          <a:bodyPr wrap="square" lIns="26796" tIns="26796" rIns="26796" bIns="26796" numCol="1" anchor="ctr">
            <a:noAutofit/>
          </a:bodyPr>
          <a:lstStyle/>
          <a:p>
            <a:endParaRPr sz="1899">
              <a:latin typeface="Nunito Sans ExtraLight" pitchFamily="2" charset="77"/>
            </a:endParaRPr>
          </a:p>
        </p:txBody>
      </p:sp>
      <p:sp>
        <p:nvSpPr>
          <p:cNvPr id="55" name="Shape 6492">
            <a:extLst>
              <a:ext uri="{FF2B5EF4-FFF2-40B4-BE49-F238E27FC236}">
                <a16:creationId xmlns:a16="http://schemas.microsoft.com/office/drawing/2014/main" id="{F90442D0-EEC6-5A4C-8340-70AEF724D87B}"/>
              </a:ext>
            </a:extLst>
          </p:cNvPr>
          <p:cNvSpPr/>
          <p:nvPr/>
        </p:nvSpPr>
        <p:spPr>
          <a:xfrm>
            <a:off x="2317653" y="3846848"/>
            <a:ext cx="1110746" cy="1811696"/>
          </a:xfrm>
          <a:custGeom>
            <a:avLst/>
            <a:gdLst/>
            <a:ahLst/>
            <a:cxnLst>
              <a:cxn ang="0">
                <a:pos x="wd2" y="hd2"/>
              </a:cxn>
              <a:cxn ang="5400000">
                <a:pos x="wd2" y="hd2"/>
              </a:cxn>
              <a:cxn ang="10800000">
                <a:pos x="wd2" y="hd2"/>
              </a:cxn>
              <a:cxn ang="16200000">
                <a:pos x="wd2" y="hd2"/>
              </a:cxn>
            </a:cxnLst>
            <a:rect l="0" t="0" r="r" b="b"/>
            <a:pathLst>
              <a:path w="21156" h="21346" extrusionOk="0">
                <a:moveTo>
                  <a:pt x="14907" y="13611"/>
                </a:moveTo>
                <a:cubicBezTo>
                  <a:pt x="14908" y="13576"/>
                  <a:pt x="14915" y="13542"/>
                  <a:pt x="14927" y="13508"/>
                </a:cubicBezTo>
                <a:cubicBezTo>
                  <a:pt x="14945" y="13527"/>
                  <a:pt x="14935" y="13561"/>
                  <a:pt x="14907" y="13611"/>
                </a:cubicBezTo>
                <a:cubicBezTo>
                  <a:pt x="14911" y="13596"/>
                  <a:pt x="14935" y="13561"/>
                  <a:pt x="14907" y="13611"/>
                </a:cubicBezTo>
                <a:close/>
                <a:moveTo>
                  <a:pt x="13846" y="3906"/>
                </a:moveTo>
                <a:cubicBezTo>
                  <a:pt x="13745" y="4068"/>
                  <a:pt x="13727" y="4129"/>
                  <a:pt x="13495" y="4231"/>
                </a:cubicBezTo>
                <a:cubicBezTo>
                  <a:pt x="13568" y="4090"/>
                  <a:pt x="13714" y="3995"/>
                  <a:pt x="13864" y="3877"/>
                </a:cubicBezTo>
                <a:lnTo>
                  <a:pt x="13846" y="3906"/>
                </a:lnTo>
                <a:cubicBezTo>
                  <a:pt x="13827" y="3937"/>
                  <a:pt x="13846" y="3906"/>
                  <a:pt x="13846" y="3906"/>
                </a:cubicBezTo>
                <a:close/>
                <a:moveTo>
                  <a:pt x="12475" y="14778"/>
                </a:moveTo>
                <a:cubicBezTo>
                  <a:pt x="12516" y="14778"/>
                  <a:pt x="12564" y="14776"/>
                  <a:pt x="12595" y="14795"/>
                </a:cubicBezTo>
                <a:cubicBezTo>
                  <a:pt x="12555" y="14785"/>
                  <a:pt x="12514" y="14778"/>
                  <a:pt x="12475" y="14778"/>
                </a:cubicBezTo>
                <a:cubicBezTo>
                  <a:pt x="12476" y="14778"/>
                  <a:pt x="12514" y="14778"/>
                  <a:pt x="12475" y="14778"/>
                </a:cubicBezTo>
                <a:close/>
                <a:moveTo>
                  <a:pt x="7113" y="17141"/>
                </a:moveTo>
                <a:cubicBezTo>
                  <a:pt x="7109" y="17139"/>
                  <a:pt x="7101" y="17127"/>
                  <a:pt x="7096" y="17118"/>
                </a:cubicBezTo>
                <a:cubicBezTo>
                  <a:pt x="7113" y="17112"/>
                  <a:pt x="7129" y="17104"/>
                  <a:pt x="7143" y="17096"/>
                </a:cubicBezTo>
                <a:cubicBezTo>
                  <a:pt x="7135" y="17114"/>
                  <a:pt x="7137" y="17132"/>
                  <a:pt x="7149" y="17150"/>
                </a:cubicBezTo>
                <a:lnTo>
                  <a:pt x="7113" y="17141"/>
                </a:lnTo>
                <a:cubicBezTo>
                  <a:pt x="7109" y="17139"/>
                  <a:pt x="7113" y="17141"/>
                  <a:pt x="7113" y="17141"/>
                </a:cubicBezTo>
                <a:close/>
                <a:moveTo>
                  <a:pt x="4271" y="153"/>
                </a:moveTo>
                <a:cubicBezTo>
                  <a:pt x="4271" y="153"/>
                  <a:pt x="4274" y="153"/>
                  <a:pt x="4271" y="153"/>
                </a:cubicBezTo>
                <a:cubicBezTo>
                  <a:pt x="4271" y="153"/>
                  <a:pt x="4271" y="153"/>
                  <a:pt x="4271" y="153"/>
                </a:cubicBezTo>
                <a:close/>
                <a:moveTo>
                  <a:pt x="21083" y="5876"/>
                </a:moveTo>
                <a:cubicBezTo>
                  <a:pt x="20878" y="5351"/>
                  <a:pt x="20177" y="5444"/>
                  <a:pt x="19555" y="5083"/>
                </a:cubicBezTo>
                <a:cubicBezTo>
                  <a:pt x="19066" y="4799"/>
                  <a:pt x="18685" y="4740"/>
                  <a:pt x="18023" y="4717"/>
                </a:cubicBezTo>
                <a:cubicBezTo>
                  <a:pt x="17537" y="4700"/>
                  <a:pt x="17283" y="4482"/>
                  <a:pt x="16812" y="4685"/>
                </a:cubicBezTo>
                <a:cubicBezTo>
                  <a:pt x="16950" y="4215"/>
                  <a:pt x="15462" y="3995"/>
                  <a:pt x="14945" y="4103"/>
                </a:cubicBezTo>
                <a:cubicBezTo>
                  <a:pt x="14955" y="4083"/>
                  <a:pt x="15053" y="3900"/>
                  <a:pt x="15053" y="3900"/>
                </a:cubicBezTo>
                <a:cubicBezTo>
                  <a:pt x="14663" y="3887"/>
                  <a:pt x="14273" y="3873"/>
                  <a:pt x="13883" y="3862"/>
                </a:cubicBezTo>
                <a:cubicBezTo>
                  <a:pt x="14117" y="3655"/>
                  <a:pt x="14501" y="3533"/>
                  <a:pt x="14274" y="3246"/>
                </a:cubicBezTo>
                <a:cubicBezTo>
                  <a:pt x="13791" y="3298"/>
                  <a:pt x="13738" y="2329"/>
                  <a:pt x="13421" y="2513"/>
                </a:cubicBezTo>
                <a:cubicBezTo>
                  <a:pt x="13222" y="2341"/>
                  <a:pt x="12877" y="2206"/>
                  <a:pt x="12575" y="2135"/>
                </a:cubicBezTo>
                <a:cubicBezTo>
                  <a:pt x="12586" y="2119"/>
                  <a:pt x="12595" y="2102"/>
                  <a:pt x="12600" y="2085"/>
                </a:cubicBezTo>
                <a:cubicBezTo>
                  <a:pt x="12472" y="2018"/>
                  <a:pt x="11718" y="1855"/>
                  <a:pt x="11552" y="2009"/>
                </a:cubicBezTo>
                <a:cubicBezTo>
                  <a:pt x="11407" y="1950"/>
                  <a:pt x="11152" y="1951"/>
                  <a:pt x="10982" y="1957"/>
                </a:cubicBezTo>
                <a:lnTo>
                  <a:pt x="10971" y="1915"/>
                </a:lnTo>
                <a:lnTo>
                  <a:pt x="10942" y="1935"/>
                </a:lnTo>
                <a:cubicBezTo>
                  <a:pt x="10847" y="1887"/>
                  <a:pt x="10590" y="1730"/>
                  <a:pt x="10461" y="1730"/>
                </a:cubicBezTo>
                <a:cubicBezTo>
                  <a:pt x="10603" y="1730"/>
                  <a:pt x="10202" y="1408"/>
                  <a:pt x="10132" y="1370"/>
                </a:cubicBezTo>
                <a:cubicBezTo>
                  <a:pt x="10175" y="1376"/>
                  <a:pt x="10205" y="1380"/>
                  <a:pt x="10205" y="1380"/>
                </a:cubicBezTo>
                <a:cubicBezTo>
                  <a:pt x="9946" y="1224"/>
                  <a:pt x="9692" y="1045"/>
                  <a:pt x="9292" y="1115"/>
                </a:cubicBezTo>
                <a:cubicBezTo>
                  <a:pt x="9308" y="1100"/>
                  <a:pt x="9312" y="1069"/>
                  <a:pt x="9318" y="1047"/>
                </a:cubicBezTo>
                <a:cubicBezTo>
                  <a:pt x="9756" y="901"/>
                  <a:pt x="8958" y="655"/>
                  <a:pt x="8719" y="691"/>
                </a:cubicBezTo>
                <a:cubicBezTo>
                  <a:pt x="8697" y="649"/>
                  <a:pt x="8672" y="637"/>
                  <a:pt x="8622" y="605"/>
                </a:cubicBezTo>
                <a:cubicBezTo>
                  <a:pt x="8595" y="615"/>
                  <a:pt x="8857" y="603"/>
                  <a:pt x="8946" y="583"/>
                </a:cubicBezTo>
                <a:lnTo>
                  <a:pt x="8946" y="424"/>
                </a:lnTo>
                <a:cubicBezTo>
                  <a:pt x="8584" y="419"/>
                  <a:pt x="8041" y="370"/>
                  <a:pt x="7753" y="527"/>
                </a:cubicBezTo>
                <a:cubicBezTo>
                  <a:pt x="7325" y="761"/>
                  <a:pt x="7238" y="462"/>
                  <a:pt x="6865" y="462"/>
                </a:cubicBezTo>
                <a:cubicBezTo>
                  <a:pt x="6651" y="462"/>
                  <a:pt x="6162" y="582"/>
                  <a:pt x="6100" y="423"/>
                </a:cubicBezTo>
                <a:cubicBezTo>
                  <a:pt x="6035" y="257"/>
                  <a:pt x="5794" y="173"/>
                  <a:pt x="5530" y="201"/>
                </a:cubicBezTo>
                <a:cubicBezTo>
                  <a:pt x="5798" y="201"/>
                  <a:pt x="4516" y="-254"/>
                  <a:pt x="5126" y="246"/>
                </a:cubicBezTo>
                <a:cubicBezTo>
                  <a:pt x="4964" y="310"/>
                  <a:pt x="4729" y="281"/>
                  <a:pt x="4573" y="365"/>
                </a:cubicBezTo>
                <a:cubicBezTo>
                  <a:pt x="4569" y="357"/>
                  <a:pt x="4565" y="351"/>
                  <a:pt x="4561" y="344"/>
                </a:cubicBezTo>
                <a:cubicBezTo>
                  <a:pt x="4686" y="310"/>
                  <a:pt x="4802" y="265"/>
                  <a:pt x="4906" y="212"/>
                </a:cubicBezTo>
                <a:cubicBezTo>
                  <a:pt x="4915" y="-229"/>
                  <a:pt x="4397" y="153"/>
                  <a:pt x="4270" y="153"/>
                </a:cubicBezTo>
                <a:cubicBezTo>
                  <a:pt x="4167" y="164"/>
                  <a:pt x="3359" y="353"/>
                  <a:pt x="3319" y="417"/>
                </a:cubicBezTo>
                <a:lnTo>
                  <a:pt x="3145" y="383"/>
                </a:lnTo>
                <a:cubicBezTo>
                  <a:pt x="2836" y="502"/>
                  <a:pt x="2710" y="657"/>
                  <a:pt x="2597" y="861"/>
                </a:cubicBezTo>
                <a:lnTo>
                  <a:pt x="2632" y="881"/>
                </a:lnTo>
                <a:lnTo>
                  <a:pt x="2609" y="891"/>
                </a:lnTo>
                <a:cubicBezTo>
                  <a:pt x="2609" y="891"/>
                  <a:pt x="2630" y="919"/>
                  <a:pt x="2631" y="920"/>
                </a:cubicBezTo>
                <a:cubicBezTo>
                  <a:pt x="2441" y="925"/>
                  <a:pt x="2439" y="994"/>
                  <a:pt x="2367" y="1082"/>
                </a:cubicBezTo>
                <a:cubicBezTo>
                  <a:pt x="2327" y="1132"/>
                  <a:pt x="2134" y="1188"/>
                  <a:pt x="2046" y="1216"/>
                </a:cubicBezTo>
                <a:cubicBezTo>
                  <a:pt x="2006" y="1191"/>
                  <a:pt x="1971" y="1160"/>
                  <a:pt x="1938" y="1132"/>
                </a:cubicBezTo>
                <a:lnTo>
                  <a:pt x="1757" y="1278"/>
                </a:lnTo>
                <a:lnTo>
                  <a:pt x="1868" y="1415"/>
                </a:lnTo>
                <a:lnTo>
                  <a:pt x="1840" y="1419"/>
                </a:lnTo>
                <a:lnTo>
                  <a:pt x="1824" y="1473"/>
                </a:lnTo>
                <a:lnTo>
                  <a:pt x="1805" y="1460"/>
                </a:lnTo>
                <a:cubicBezTo>
                  <a:pt x="1758" y="1481"/>
                  <a:pt x="1709" y="1500"/>
                  <a:pt x="1658" y="1517"/>
                </a:cubicBezTo>
                <a:cubicBezTo>
                  <a:pt x="1549" y="1674"/>
                  <a:pt x="1707" y="1979"/>
                  <a:pt x="1798" y="2121"/>
                </a:cubicBezTo>
                <a:lnTo>
                  <a:pt x="1623" y="2198"/>
                </a:lnTo>
                <a:cubicBezTo>
                  <a:pt x="1623" y="2198"/>
                  <a:pt x="1757" y="2274"/>
                  <a:pt x="1768" y="2279"/>
                </a:cubicBezTo>
                <a:cubicBezTo>
                  <a:pt x="1773" y="2424"/>
                  <a:pt x="1650" y="2661"/>
                  <a:pt x="1803" y="2773"/>
                </a:cubicBezTo>
                <a:cubicBezTo>
                  <a:pt x="1723" y="2851"/>
                  <a:pt x="1540" y="2983"/>
                  <a:pt x="1532" y="3078"/>
                </a:cubicBezTo>
                <a:cubicBezTo>
                  <a:pt x="1139" y="3076"/>
                  <a:pt x="1182" y="3360"/>
                  <a:pt x="947" y="3451"/>
                </a:cubicBezTo>
                <a:cubicBezTo>
                  <a:pt x="945" y="3436"/>
                  <a:pt x="951" y="3434"/>
                  <a:pt x="966" y="3447"/>
                </a:cubicBezTo>
                <a:cubicBezTo>
                  <a:pt x="608" y="3513"/>
                  <a:pt x="413" y="3554"/>
                  <a:pt x="434" y="3830"/>
                </a:cubicBezTo>
                <a:cubicBezTo>
                  <a:pt x="410" y="3843"/>
                  <a:pt x="192" y="4024"/>
                  <a:pt x="245" y="4024"/>
                </a:cubicBezTo>
                <a:lnTo>
                  <a:pt x="236" y="4024"/>
                </a:lnTo>
                <a:cubicBezTo>
                  <a:pt x="54" y="4141"/>
                  <a:pt x="48" y="4311"/>
                  <a:pt x="120" y="4482"/>
                </a:cubicBezTo>
                <a:cubicBezTo>
                  <a:pt x="-250" y="4580"/>
                  <a:pt x="355" y="4716"/>
                  <a:pt x="355" y="4730"/>
                </a:cubicBezTo>
                <a:cubicBezTo>
                  <a:pt x="361" y="4790"/>
                  <a:pt x="347" y="4826"/>
                  <a:pt x="446" y="4867"/>
                </a:cubicBezTo>
                <a:cubicBezTo>
                  <a:pt x="418" y="4880"/>
                  <a:pt x="385" y="4889"/>
                  <a:pt x="354" y="4898"/>
                </a:cubicBezTo>
                <a:lnTo>
                  <a:pt x="401" y="5044"/>
                </a:lnTo>
                <a:cubicBezTo>
                  <a:pt x="360" y="5065"/>
                  <a:pt x="295" y="5073"/>
                  <a:pt x="243" y="5074"/>
                </a:cubicBezTo>
                <a:cubicBezTo>
                  <a:pt x="-96" y="5327"/>
                  <a:pt x="100" y="5478"/>
                  <a:pt x="253" y="5724"/>
                </a:cubicBezTo>
                <a:cubicBezTo>
                  <a:pt x="-131" y="5758"/>
                  <a:pt x="906" y="6336"/>
                  <a:pt x="977" y="6405"/>
                </a:cubicBezTo>
                <a:cubicBezTo>
                  <a:pt x="1473" y="6884"/>
                  <a:pt x="1943" y="7410"/>
                  <a:pt x="2366" y="7917"/>
                </a:cubicBezTo>
                <a:cubicBezTo>
                  <a:pt x="2792" y="8429"/>
                  <a:pt x="2834" y="8747"/>
                  <a:pt x="3754" y="9047"/>
                </a:cubicBezTo>
                <a:cubicBezTo>
                  <a:pt x="4138" y="9172"/>
                  <a:pt x="4518" y="9326"/>
                  <a:pt x="4908" y="9441"/>
                </a:cubicBezTo>
                <a:cubicBezTo>
                  <a:pt x="5168" y="9517"/>
                  <a:pt x="5201" y="9759"/>
                  <a:pt x="5520" y="9800"/>
                </a:cubicBezTo>
                <a:cubicBezTo>
                  <a:pt x="5673" y="10251"/>
                  <a:pt x="5783" y="10655"/>
                  <a:pt x="5791" y="11117"/>
                </a:cubicBezTo>
                <a:cubicBezTo>
                  <a:pt x="5711" y="11122"/>
                  <a:pt x="5913" y="12338"/>
                  <a:pt x="5907" y="12464"/>
                </a:cubicBezTo>
                <a:cubicBezTo>
                  <a:pt x="5882" y="13059"/>
                  <a:pt x="5883" y="13548"/>
                  <a:pt x="6193" y="14121"/>
                </a:cubicBezTo>
                <a:lnTo>
                  <a:pt x="6225" y="14132"/>
                </a:lnTo>
                <a:cubicBezTo>
                  <a:pt x="6430" y="14543"/>
                  <a:pt x="6291" y="15161"/>
                  <a:pt x="6165" y="15567"/>
                </a:cubicBezTo>
                <a:lnTo>
                  <a:pt x="5959" y="15469"/>
                </a:lnTo>
                <a:cubicBezTo>
                  <a:pt x="6052" y="15704"/>
                  <a:pt x="6153" y="16040"/>
                  <a:pt x="6421" y="16224"/>
                </a:cubicBezTo>
                <a:cubicBezTo>
                  <a:pt x="6507" y="16420"/>
                  <a:pt x="6366" y="16837"/>
                  <a:pt x="6657" y="17019"/>
                </a:cubicBezTo>
                <a:lnTo>
                  <a:pt x="6608" y="17029"/>
                </a:lnTo>
                <a:cubicBezTo>
                  <a:pt x="6637" y="17135"/>
                  <a:pt x="6673" y="17242"/>
                  <a:pt x="6698" y="17348"/>
                </a:cubicBezTo>
                <a:cubicBezTo>
                  <a:pt x="6724" y="17460"/>
                  <a:pt x="6961" y="17753"/>
                  <a:pt x="7204" y="17552"/>
                </a:cubicBezTo>
                <a:cubicBezTo>
                  <a:pt x="7368" y="17415"/>
                  <a:pt x="7130" y="17379"/>
                  <a:pt x="7104" y="17271"/>
                </a:cubicBezTo>
                <a:cubicBezTo>
                  <a:pt x="7153" y="17247"/>
                  <a:pt x="7205" y="17224"/>
                  <a:pt x="7258" y="17204"/>
                </a:cubicBezTo>
                <a:cubicBezTo>
                  <a:pt x="7266" y="17207"/>
                  <a:pt x="7274" y="17209"/>
                  <a:pt x="7283" y="17212"/>
                </a:cubicBezTo>
                <a:cubicBezTo>
                  <a:pt x="7428" y="17330"/>
                  <a:pt x="7359" y="17669"/>
                  <a:pt x="7457" y="17825"/>
                </a:cubicBezTo>
                <a:cubicBezTo>
                  <a:pt x="7064" y="17733"/>
                  <a:pt x="6781" y="17992"/>
                  <a:pt x="7244" y="18037"/>
                </a:cubicBezTo>
                <a:cubicBezTo>
                  <a:pt x="7249" y="18089"/>
                  <a:pt x="7372" y="18164"/>
                  <a:pt x="7414" y="18219"/>
                </a:cubicBezTo>
                <a:cubicBezTo>
                  <a:pt x="7100" y="18171"/>
                  <a:pt x="6990" y="18391"/>
                  <a:pt x="6948" y="18541"/>
                </a:cubicBezTo>
                <a:cubicBezTo>
                  <a:pt x="6858" y="18867"/>
                  <a:pt x="7590" y="18545"/>
                  <a:pt x="7695" y="18694"/>
                </a:cubicBezTo>
                <a:cubicBezTo>
                  <a:pt x="7722" y="18862"/>
                  <a:pt x="7638" y="18904"/>
                  <a:pt x="7476" y="18960"/>
                </a:cubicBezTo>
                <a:cubicBezTo>
                  <a:pt x="7193" y="19058"/>
                  <a:pt x="7547" y="19380"/>
                  <a:pt x="7676" y="19483"/>
                </a:cubicBezTo>
                <a:cubicBezTo>
                  <a:pt x="7806" y="19585"/>
                  <a:pt x="8719" y="19925"/>
                  <a:pt x="8709" y="20034"/>
                </a:cubicBezTo>
                <a:cubicBezTo>
                  <a:pt x="8675" y="20055"/>
                  <a:pt x="8539" y="20057"/>
                  <a:pt x="8495" y="20060"/>
                </a:cubicBezTo>
                <a:cubicBezTo>
                  <a:pt x="8668" y="20215"/>
                  <a:pt x="8970" y="20245"/>
                  <a:pt x="9155" y="20402"/>
                </a:cubicBezTo>
                <a:cubicBezTo>
                  <a:pt x="9472" y="20673"/>
                  <a:pt x="9686" y="20866"/>
                  <a:pt x="10256" y="20922"/>
                </a:cubicBezTo>
                <a:cubicBezTo>
                  <a:pt x="10224" y="21093"/>
                  <a:pt x="10989" y="21099"/>
                  <a:pt x="11173" y="21106"/>
                </a:cubicBezTo>
                <a:cubicBezTo>
                  <a:pt x="11320" y="21272"/>
                  <a:pt x="11860" y="21266"/>
                  <a:pt x="12121" y="21346"/>
                </a:cubicBezTo>
                <a:cubicBezTo>
                  <a:pt x="12171" y="21325"/>
                  <a:pt x="12227" y="21311"/>
                  <a:pt x="12286" y="21303"/>
                </a:cubicBezTo>
                <a:cubicBezTo>
                  <a:pt x="12279" y="21275"/>
                  <a:pt x="12265" y="21249"/>
                  <a:pt x="12243" y="21224"/>
                </a:cubicBezTo>
                <a:cubicBezTo>
                  <a:pt x="12367" y="21226"/>
                  <a:pt x="12609" y="21245"/>
                  <a:pt x="12688" y="21175"/>
                </a:cubicBezTo>
                <a:cubicBezTo>
                  <a:pt x="13408" y="21075"/>
                  <a:pt x="12856" y="20944"/>
                  <a:pt x="12432" y="20879"/>
                </a:cubicBezTo>
                <a:cubicBezTo>
                  <a:pt x="12038" y="20820"/>
                  <a:pt x="11669" y="20556"/>
                  <a:pt x="11367" y="20396"/>
                </a:cubicBezTo>
                <a:lnTo>
                  <a:pt x="11371" y="20394"/>
                </a:lnTo>
                <a:cubicBezTo>
                  <a:pt x="11287" y="20307"/>
                  <a:pt x="11160" y="20275"/>
                  <a:pt x="11013" y="20336"/>
                </a:cubicBezTo>
                <a:cubicBezTo>
                  <a:pt x="10986" y="20329"/>
                  <a:pt x="10938" y="20310"/>
                  <a:pt x="10929" y="20303"/>
                </a:cubicBezTo>
                <a:cubicBezTo>
                  <a:pt x="10926" y="20288"/>
                  <a:pt x="10923" y="20273"/>
                  <a:pt x="10922" y="20258"/>
                </a:cubicBezTo>
                <a:lnTo>
                  <a:pt x="11154" y="20296"/>
                </a:lnTo>
                <a:lnTo>
                  <a:pt x="11240" y="20191"/>
                </a:lnTo>
                <a:cubicBezTo>
                  <a:pt x="10960" y="20056"/>
                  <a:pt x="10729" y="19885"/>
                  <a:pt x="10600" y="19679"/>
                </a:cubicBezTo>
                <a:cubicBezTo>
                  <a:pt x="11043" y="19491"/>
                  <a:pt x="10850" y="19267"/>
                  <a:pt x="11190" y="19008"/>
                </a:cubicBezTo>
                <a:cubicBezTo>
                  <a:pt x="11610" y="18689"/>
                  <a:pt x="10881" y="18589"/>
                  <a:pt x="10564" y="18488"/>
                </a:cubicBezTo>
                <a:cubicBezTo>
                  <a:pt x="9933" y="18287"/>
                  <a:pt x="10482" y="18110"/>
                  <a:pt x="10762" y="17956"/>
                </a:cubicBezTo>
                <a:cubicBezTo>
                  <a:pt x="11082" y="17780"/>
                  <a:pt x="10532" y="17572"/>
                  <a:pt x="10925" y="17461"/>
                </a:cubicBezTo>
                <a:cubicBezTo>
                  <a:pt x="11053" y="17363"/>
                  <a:pt x="11542" y="17241"/>
                  <a:pt x="11132" y="17081"/>
                </a:cubicBezTo>
                <a:cubicBezTo>
                  <a:pt x="10719" y="16920"/>
                  <a:pt x="10542" y="17195"/>
                  <a:pt x="10370" y="16756"/>
                </a:cubicBezTo>
                <a:cubicBezTo>
                  <a:pt x="10280" y="16736"/>
                  <a:pt x="10698" y="16839"/>
                  <a:pt x="10701" y="16840"/>
                </a:cubicBezTo>
                <a:cubicBezTo>
                  <a:pt x="10852" y="16881"/>
                  <a:pt x="11044" y="16917"/>
                  <a:pt x="11208" y="16879"/>
                </a:cubicBezTo>
                <a:cubicBezTo>
                  <a:pt x="11677" y="16773"/>
                  <a:pt x="11296" y="16620"/>
                  <a:pt x="11327" y="16476"/>
                </a:cubicBezTo>
                <a:lnTo>
                  <a:pt x="11391" y="16465"/>
                </a:lnTo>
                <a:cubicBezTo>
                  <a:pt x="11399" y="16341"/>
                  <a:pt x="11312" y="16265"/>
                  <a:pt x="11208" y="16169"/>
                </a:cubicBezTo>
                <a:cubicBezTo>
                  <a:pt x="11664" y="16259"/>
                  <a:pt x="12455" y="16159"/>
                  <a:pt x="12835" y="15994"/>
                </a:cubicBezTo>
                <a:cubicBezTo>
                  <a:pt x="13028" y="15910"/>
                  <a:pt x="13154" y="15698"/>
                  <a:pt x="13228" y="15565"/>
                </a:cubicBezTo>
                <a:cubicBezTo>
                  <a:pt x="13402" y="15253"/>
                  <a:pt x="12911" y="15333"/>
                  <a:pt x="12834" y="15144"/>
                </a:cubicBezTo>
                <a:cubicBezTo>
                  <a:pt x="12802" y="15022"/>
                  <a:pt x="12963" y="14987"/>
                  <a:pt x="12778" y="14873"/>
                </a:cubicBezTo>
                <a:cubicBezTo>
                  <a:pt x="13254" y="14989"/>
                  <a:pt x="14069" y="14954"/>
                  <a:pt x="14075" y="14543"/>
                </a:cubicBezTo>
                <a:cubicBezTo>
                  <a:pt x="14715" y="14565"/>
                  <a:pt x="14622" y="13934"/>
                  <a:pt x="14861" y="13689"/>
                </a:cubicBezTo>
                <a:cubicBezTo>
                  <a:pt x="14826" y="13753"/>
                  <a:pt x="14779" y="13815"/>
                  <a:pt x="14699" y="13862"/>
                </a:cubicBezTo>
                <a:lnTo>
                  <a:pt x="14810" y="13932"/>
                </a:lnTo>
                <a:lnTo>
                  <a:pt x="14823" y="13925"/>
                </a:lnTo>
                <a:lnTo>
                  <a:pt x="14866" y="13945"/>
                </a:lnTo>
                <a:cubicBezTo>
                  <a:pt x="15391" y="13663"/>
                  <a:pt x="15253" y="13268"/>
                  <a:pt x="15713" y="12979"/>
                </a:cubicBezTo>
                <a:cubicBezTo>
                  <a:pt x="16218" y="12660"/>
                  <a:pt x="15525" y="12151"/>
                  <a:pt x="15954" y="11777"/>
                </a:cubicBezTo>
                <a:cubicBezTo>
                  <a:pt x="16313" y="11463"/>
                  <a:pt x="17360" y="11121"/>
                  <a:pt x="17972" y="11165"/>
                </a:cubicBezTo>
                <a:cubicBezTo>
                  <a:pt x="18474" y="11201"/>
                  <a:pt x="18489" y="10927"/>
                  <a:pt x="18940" y="10851"/>
                </a:cubicBezTo>
                <a:cubicBezTo>
                  <a:pt x="18679" y="10613"/>
                  <a:pt x="19041" y="10505"/>
                  <a:pt x="19136" y="10300"/>
                </a:cubicBezTo>
                <a:cubicBezTo>
                  <a:pt x="19263" y="10026"/>
                  <a:pt x="19440" y="9737"/>
                  <a:pt x="19532" y="9473"/>
                </a:cubicBezTo>
                <a:cubicBezTo>
                  <a:pt x="19677" y="9053"/>
                  <a:pt x="19187" y="8394"/>
                  <a:pt x="19505" y="8013"/>
                </a:cubicBezTo>
                <a:cubicBezTo>
                  <a:pt x="20005" y="8053"/>
                  <a:pt x="20030" y="7526"/>
                  <a:pt x="20245" y="7340"/>
                </a:cubicBezTo>
                <a:cubicBezTo>
                  <a:pt x="20849" y="6817"/>
                  <a:pt x="21350" y="6573"/>
                  <a:pt x="21083" y="5876"/>
                </a:cubicBezTo>
                <a:cubicBezTo>
                  <a:pt x="21071" y="5847"/>
                  <a:pt x="21253" y="6319"/>
                  <a:pt x="21083" y="5876"/>
                </a:cubicBezTo>
                <a:close/>
              </a:path>
            </a:pathLst>
          </a:custGeom>
          <a:solidFill>
            <a:schemeClr val="tx1">
              <a:lumMod val="20000"/>
              <a:lumOff val="80000"/>
            </a:schemeClr>
          </a:solidFill>
          <a:ln w="12700" cap="flat">
            <a:noFill/>
            <a:miter lim="400000"/>
          </a:ln>
          <a:effectLst/>
        </p:spPr>
        <p:txBody>
          <a:bodyPr wrap="square" lIns="0" tIns="0" rIns="0" bIns="0" numCol="1" anchor="ctr">
            <a:noAutofit/>
          </a:bodyPr>
          <a:lstStyle/>
          <a:p>
            <a:pPr>
              <a:defRPr>
                <a:solidFill>
                  <a:srgbClr val="4C4C4C"/>
                </a:solidFill>
              </a:defRPr>
            </a:pPr>
            <a:endParaRPr sz="1899">
              <a:latin typeface="Nunito Sans ExtraLight" pitchFamily="2" charset="77"/>
            </a:endParaRPr>
          </a:p>
        </p:txBody>
      </p:sp>
      <p:sp>
        <p:nvSpPr>
          <p:cNvPr id="62" name="Shape 6493">
            <a:extLst>
              <a:ext uri="{FF2B5EF4-FFF2-40B4-BE49-F238E27FC236}">
                <a16:creationId xmlns:a16="http://schemas.microsoft.com/office/drawing/2014/main" id="{A2B0ED92-51BD-1348-A0A2-4B3737AAFB35}"/>
              </a:ext>
            </a:extLst>
          </p:cNvPr>
          <p:cNvSpPr/>
          <p:nvPr/>
        </p:nvSpPr>
        <p:spPr>
          <a:xfrm>
            <a:off x="4781751" y="2151258"/>
            <a:ext cx="2899247" cy="2291221"/>
          </a:xfrm>
          <a:custGeom>
            <a:avLst/>
            <a:gdLst/>
            <a:ahLst/>
            <a:cxnLst>
              <a:cxn ang="0">
                <a:pos x="wd2" y="hd2"/>
              </a:cxn>
              <a:cxn ang="5400000">
                <a:pos x="wd2" y="hd2"/>
              </a:cxn>
              <a:cxn ang="10800000">
                <a:pos x="wd2" y="hd2"/>
              </a:cxn>
              <a:cxn ang="16200000">
                <a:pos x="wd2" y="hd2"/>
              </a:cxn>
            </a:cxnLst>
            <a:rect l="0" t="0" r="r" b="b"/>
            <a:pathLst>
              <a:path w="21591" h="21535" extrusionOk="0">
                <a:moveTo>
                  <a:pt x="16904" y="15081"/>
                </a:moveTo>
                <a:cubicBezTo>
                  <a:pt x="16878" y="15144"/>
                  <a:pt x="16987" y="15511"/>
                  <a:pt x="17048" y="15519"/>
                </a:cubicBezTo>
                <a:cubicBezTo>
                  <a:pt x="17083" y="15524"/>
                  <a:pt x="17047" y="15382"/>
                  <a:pt x="17101" y="15439"/>
                </a:cubicBezTo>
                <a:cubicBezTo>
                  <a:pt x="17151" y="15490"/>
                  <a:pt x="17019" y="15711"/>
                  <a:pt x="17203" y="15682"/>
                </a:cubicBezTo>
                <a:cubicBezTo>
                  <a:pt x="17259" y="15674"/>
                  <a:pt x="17432" y="15703"/>
                  <a:pt x="17464" y="15758"/>
                </a:cubicBezTo>
                <a:cubicBezTo>
                  <a:pt x="17452" y="15727"/>
                  <a:pt x="17442" y="15696"/>
                  <a:pt x="17435" y="15663"/>
                </a:cubicBezTo>
                <a:cubicBezTo>
                  <a:pt x="17516" y="15683"/>
                  <a:pt x="17654" y="15992"/>
                  <a:pt x="17725" y="15946"/>
                </a:cubicBezTo>
                <a:cubicBezTo>
                  <a:pt x="17786" y="15905"/>
                  <a:pt x="17633" y="15755"/>
                  <a:pt x="17633" y="15702"/>
                </a:cubicBezTo>
                <a:cubicBezTo>
                  <a:pt x="17660" y="15714"/>
                  <a:pt x="17766" y="15737"/>
                  <a:pt x="17745" y="15652"/>
                </a:cubicBezTo>
                <a:cubicBezTo>
                  <a:pt x="17729" y="15587"/>
                  <a:pt x="17567" y="15597"/>
                  <a:pt x="17540" y="15580"/>
                </a:cubicBezTo>
                <a:cubicBezTo>
                  <a:pt x="17349" y="15455"/>
                  <a:pt x="17283" y="15635"/>
                  <a:pt x="17202" y="15310"/>
                </a:cubicBezTo>
                <a:cubicBezTo>
                  <a:pt x="17153" y="15112"/>
                  <a:pt x="17295" y="15098"/>
                  <a:pt x="17324" y="14930"/>
                </a:cubicBezTo>
                <a:cubicBezTo>
                  <a:pt x="17333" y="14883"/>
                  <a:pt x="17282" y="14574"/>
                  <a:pt x="17261" y="14508"/>
                </a:cubicBezTo>
                <a:cubicBezTo>
                  <a:pt x="17172" y="14517"/>
                  <a:pt x="16955" y="14428"/>
                  <a:pt x="16945" y="14587"/>
                </a:cubicBezTo>
                <a:cubicBezTo>
                  <a:pt x="16940" y="14669"/>
                  <a:pt x="17033" y="15040"/>
                  <a:pt x="16988" y="15085"/>
                </a:cubicBezTo>
                <a:cubicBezTo>
                  <a:pt x="16958" y="15115"/>
                  <a:pt x="16927" y="15024"/>
                  <a:pt x="16904" y="15081"/>
                </a:cubicBezTo>
                <a:close/>
                <a:moveTo>
                  <a:pt x="16904" y="15081"/>
                </a:moveTo>
                <a:cubicBezTo>
                  <a:pt x="16926" y="15025"/>
                  <a:pt x="16888" y="15121"/>
                  <a:pt x="16904" y="15081"/>
                </a:cubicBezTo>
                <a:cubicBezTo>
                  <a:pt x="16904" y="15081"/>
                  <a:pt x="16904" y="15081"/>
                  <a:pt x="16904" y="15081"/>
                </a:cubicBezTo>
                <a:close/>
                <a:moveTo>
                  <a:pt x="17709" y="16709"/>
                </a:moveTo>
                <a:cubicBezTo>
                  <a:pt x="17708" y="16802"/>
                  <a:pt x="17805" y="16839"/>
                  <a:pt x="17834" y="16746"/>
                </a:cubicBezTo>
                <a:cubicBezTo>
                  <a:pt x="17843" y="16718"/>
                  <a:pt x="17726" y="16544"/>
                  <a:pt x="17723" y="16461"/>
                </a:cubicBezTo>
                <a:cubicBezTo>
                  <a:pt x="17724" y="16510"/>
                  <a:pt x="17344" y="16224"/>
                  <a:pt x="17341" y="16255"/>
                </a:cubicBezTo>
                <a:cubicBezTo>
                  <a:pt x="17337" y="16305"/>
                  <a:pt x="17337" y="16436"/>
                  <a:pt x="17350" y="16498"/>
                </a:cubicBezTo>
                <a:cubicBezTo>
                  <a:pt x="17373" y="16614"/>
                  <a:pt x="17515" y="16528"/>
                  <a:pt x="17520" y="16668"/>
                </a:cubicBezTo>
                <a:cubicBezTo>
                  <a:pt x="17522" y="16697"/>
                  <a:pt x="17426" y="16700"/>
                  <a:pt x="17444" y="16766"/>
                </a:cubicBezTo>
                <a:cubicBezTo>
                  <a:pt x="17455" y="16807"/>
                  <a:pt x="17578" y="16963"/>
                  <a:pt x="17612" y="16917"/>
                </a:cubicBezTo>
                <a:cubicBezTo>
                  <a:pt x="17662" y="16850"/>
                  <a:pt x="17544" y="16759"/>
                  <a:pt x="17614" y="16682"/>
                </a:cubicBezTo>
                <a:cubicBezTo>
                  <a:pt x="17616" y="16704"/>
                  <a:pt x="17611" y="16808"/>
                  <a:pt x="17633" y="16819"/>
                </a:cubicBezTo>
                <a:cubicBezTo>
                  <a:pt x="17628" y="16817"/>
                  <a:pt x="17623" y="16814"/>
                  <a:pt x="17634" y="16819"/>
                </a:cubicBezTo>
                <a:cubicBezTo>
                  <a:pt x="17645" y="16824"/>
                  <a:pt x="17640" y="16822"/>
                  <a:pt x="17634" y="16819"/>
                </a:cubicBezTo>
                <a:cubicBezTo>
                  <a:pt x="17657" y="16828"/>
                  <a:pt x="17680" y="16724"/>
                  <a:pt x="17709" y="16709"/>
                </a:cubicBezTo>
                <a:close/>
                <a:moveTo>
                  <a:pt x="17710" y="15961"/>
                </a:moveTo>
                <a:cubicBezTo>
                  <a:pt x="17692" y="16058"/>
                  <a:pt x="17961" y="16228"/>
                  <a:pt x="17733" y="16237"/>
                </a:cubicBezTo>
                <a:cubicBezTo>
                  <a:pt x="17725" y="16290"/>
                  <a:pt x="17863" y="16620"/>
                  <a:pt x="17917" y="16605"/>
                </a:cubicBezTo>
                <a:cubicBezTo>
                  <a:pt x="17920" y="16528"/>
                  <a:pt x="17845" y="16422"/>
                  <a:pt x="17860" y="16351"/>
                </a:cubicBezTo>
                <a:cubicBezTo>
                  <a:pt x="17876" y="16273"/>
                  <a:pt x="17948" y="16350"/>
                  <a:pt x="17980" y="16311"/>
                </a:cubicBezTo>
                <a:cubicBezTo>
                  <a:pt x="17973" y="16319"/>
                  <a:pt x="17965" y="16329"/>
                  <a:pt x="17980" y="16310"/>
                </a:cubicBezTo>
                <a:cubicBezTo>
                  <a:pt x="17991" y="16297"/>
                  <a:pt x="17986" y="16303"/>
                  <a:pt x="17980" y="16310"/>
                </a:cubicBezTo>
                <a:cubicBezTo>
                  <a:pt x="18077" y="16188"/>
                  <a:pt x="17806" y="15955"/>
                  <a:pt x="17710" y="15961"/>
                </a:cubicBezTo>
                <a:close/>
                <a:moveTo>
                  <a:pt x="18167" y="17453"/>
                </a:moveTo>
                <a:cubicBezTo>
                  <a:pt x="18167" y="17440"/>
                  <a:pt x="18167" y="17446"/>
                  <a:pt x="18167" y="17453"/>
                </a:cubicBezTo>
                <a:cubicBezTo>
                  <a:pt x="18167" y="17453"/>
                  <a:pt x="18167" y="17453"/>
                  <a:pt x="18167" y="17453"/>
                </a:cubicBezTo>
                <a:close/>
                <a:moveTo>
                  <a:pt x="18083" y="17581"/>
                </a:moveTo>
                <a:cubicBezTo>
                  <a:pt x="18118" y="17811"/>
                  <a:pt x="18000" y="17620"/>
                  <a:pt x="18003" y="17620"/>
                </a:cubicBezTo>
                <a:cubicBezTo>
                  <a:pt x="17800" y="17636"/>
                  <a:pt x="17817" y="17533"/>
                  <a:pt x="17813" y="17287"/>
                </a:cubicBezTo>
                <a:cubicBezTo>
                  <a:pt x="17810" y="17128"/>
                  <a:pt x="17608" y="17239"/>
                  <a:pt x="17535" y="17194"/>
                </a:cubicBezTo>
                <a:cubicBezTo>
                  <a:pt x="17492" y="17167"/>
                  <a:pt x="17488" y="17406"/>
                  <a:pt x="17436" y="17391"/>
                </a:cubicBezTo>
                <a:cubicBezTo>
                  <a:pt x="17357" y="17368"/>
                  <a:pt x="17569" y="16871"/>
                  <a:pt x="17719" y="16991"/>
                </a:cubicBezTo>
                <a:cubicBezTo>
                  <a:pt x="17721" y="16992"/>
                  <a:pt x="17793" y="17215"/>
                  <a:pt x="17812" y="17062"/>
                </a:cubicBezTo>
                <a:cubicBezTo>
                  <a:pt x="17825" y="16959"/>
                  <a:pt x="17826" y="16988"/>
                  <a:pt x="17894" y="16996"/>
                </a:cubicBezTo>
                <a:cubicBezTo>
                  <a:pt x="17909" y="16893"/>
                  <a:pt x="17880" y="16906"/>
                  <a:pt x="17983" y="16886"/>
                </a:cubicBezTo>
                <a:cubicBezTo>
                  <a:pt x="18091" y="16865"/>
                  <a:pt x="17957" y="16726"/>
                  <a:pt x="18000" y="16693"/>
                </a:cubicBezTo>
                <a:cubicBezTo>
                  <a:pt x="18101" y="16614"/>
                  <a:pt x="18130" y="16965"/>
                  <a:pt x="18133" y="16978"/>
                </a:cubicBezTo>
                <a:cubicBezTo>
                  <a:pt x="18131" y="16970"/>
                  <a:pt x="18211" y="17160"/>
                  <a:pt x="18200" y="17128"/>
                </a:cubicBezTo>
                <a:cubicBezTo>
                  <a:pt x="18258" y="17300"/>
                  <a:pt x="18153" y="17341"/>
                  <a:pt x="18174" y="17494"/>
                </a:cubicBezTo>
                <a:lnTo>
                  <a:pt x="18168" y="17460"/>
                </a:lnTo>
                <a:cubicBezTo>
                  <a:pt x="18167" y="17449"/>
                  <a:pt x="18120" y="17319"/>
                  <a:pt x="18100" y="17304"/>
                </a:cubicBezTo>
                <a:cubicBezTo>
                  <a:pt x="17981" y="17215"/>
                  <a:pt x="18085" y="17594"/>
                  <a:pt x="18083" y="17581"/>
                </a:cubicBezTo>
                <a:close/>
                <a:moveTo>
                  <a:pt x="18592" y="19309"/>
                </a:moveTo>
                <a:cubicBezTo>
                  <a:pt x="18592" y="19309"/>
                  <a:pt x="18587" y="19307"/>
                  <a:pt x="18585" y="19305"/>
                </a:cubicBezTo>
                <a:cubicBezTo>
                  <a:pt x="18586" y="19306"/>
                  <a:pt x="18588" y="19307"/>
                  <a:pt x="18592" y="19309"/>
                </a:cubicBezTo>
                <a:close/>
                <a:moveTo>
                  <a:pt x="18592" y="19309"/>
                </a:moveTo>
                <a:lnTo>
                  <a:pt x="18598" y="19309"/>
                </a:lnTo>
                <a:cubicBezTo>
                  <a:pt x="18615" y="19134"/>
                  <a:pt x="18425" y="19063"/>
                  <a:pt x="18628" y="18989"/>
                </a:cubicBezTo>
                <a:cubicBezTo>
                  <a:pt x="18655" y="18947"/>
                  <a:pt x="18648" y="18911"/>
                  <a:pt x="18607" y="18881"/>
                </a:cubicBezTo>
                <a:cubicBezTo>
                  <a:pt x="18642" y="18813"/>
                  <a:pt x="18683" y="18803"/>
                  <a:pt x="18669" y="18696"/>
                </a:cubicBezTo>
                <a:cubicBezTo>
                  <a:pt x="18643" y="18690"/>
                  <a:pt x="18459" y="18728"/>
                  <a:pt x="18561" y="18611"/>
                </a:cubicBezTo>
                <a:cubicBezTo>
                  <a:pt x="18564" y="18608"/>
                  <a:pt x="18724" y="18381"/>
                  <a:pt x="18601" y="18449"/>
                </a:cubicBezTo>
                <a:cubicBezTo>
                  <a:pt x="18400" y="18560"/>
                  <a:pt x="18393" y="19197"/>
                  <a:pt x="18592" y="19309"/>
                </a:cubicBezTo>
                <a:close/>
                <a:moveTo>
                  <a:pt x="18103" y="19991"/>
                </a:moveTo>
                <a:cubicBezTo>
                  <a:pt x="18100" y="19960"/>
                  <a:pt x="18096" y="19927"/>
                  <a:pt x="18103" y="19992"/>
                </a:cubicBezTo>
                <a:cubicBezTo>
                  <a:pt x="18109" y="20049"/>
                  <a:pt x="18106" y="20022"/>
                  <a:pt x="18103" y="19992"/>
                </a:cubicBezTo>
                <a:cubicBezTo>
                  <a:pt x="18116" y="20110"/>
                  <a:pt x="18306" y="20161"/>
                  <a:pt x="18306" y="20039"/>
                </a:cubicBezTo>
                <a:lnTo>
                  <a:pt x="18306" y="20017"/>
                </a:lnTo>
                <a:cubicBezTo>
                  <a:pt x="18306" y="19930"/>
                  <a:pt x="18091" y="19867"/>
                  <a:pt x="18103" y="19991"/>
                </a:cubicBezTo>
                <a:close/>
                <a:moveTo>
                  <a:pt x="18904" y="19884"/>
                </a:moveTo>
                <a:cubicBezTo>
                  <a:pt x="18917" y="19893"/>
                  <a:pt x="18937" y="19906"/>
                  <a:pt x="18903" y="19884"/>
                </a:cubicBezTo>
                <a:cubicBezTo>
                  <a:pt x="18890" y="19876"/>
                  <a:pt x="18895" y="19879"/>
                  <a:pt x="18902" y="19883"/>
                </a:cubicBezTo>
                <a:cubicBezTo>
                  <a:pt x="18853" y="19853"/>
                  <a:pt x="18538" y="19779"/>
                  <a:pt x="18518" y="19896"/>
                </a:cubicBezTo>
                <a:cubicBezTo>
                  <a:pt x="18509" y="19950"/>
                  <a:pt x="18935" y="20067"/>
                  <a:pt x="18988" y="20089"/>
                </a:cubicBezTo>
                <a:cubicBezTo>
                  <a:pt x="19014" y="20004"/>
                  <a:pt x="18985" y="19937"/>
                  <a:pt x="18904" y="19884"/>
                </a:cubicBezTo>
                <a:close/>
                <a:moveTo>
                  <a:pt x="16263" y="21201"/>
                </a:moveTo>
                <a:cubicBezTo>
                  <a:pt x="16276" y="21209"/>
                  <a:pt x="16293" y="21218"/>
                  <a:pt x="16262" y="21201"/>
                </a:cubicBezTo>
                <a:cubicBezTo>
                  <a:pt x="16243" y="21190"/>
                  <a:pt x="16250" y="21195"/>
                  <a:pt x="16261" y="21200"/>
                </a:cubicBezTo>
                <a:cubicBezTo>
                  <a:pt x="16178" y="21156"/>
                  <a:pt x="15894" y="21117"/>
                  <a:pt x="15839" y="21038"/>
                </a:cubicBezTo>
                <a:cubicBezTo>
                  <a:pt x="15766" y="20931"/>
                  <a:pt x="16060" y="20952"/>
                  <a:pt x="16033" y="20890"/>
                </a:cubicBezTo>
                <a:cubicBezTo>
                  <a:pt x="16015" y="20847"/>
                  <a:pt x="15631" y="20892"/>
                  <a:pt x="15548" y="20827"/>
                </a:cubicBezTo>
                <a:cubicBezTo>
                  <a:pt x="15431" y="20733"/>
                  <a:pt x="15383" y="20954"/>
                  <a:pt x="15185" y="20881"/>
                </a:cubicBezTo>
                <a:cubicBezTo>
                  <a:pt x="15030" y="20824"/>
                  <a:pt x="14638" y="20421"/>
                  <a:pt x="14549" y="20854"/>
                </a:cubicBezTo>
                <a:cubicBezTo>
                  <a:pt x="14678" y="20857"/>
                  <a:pt x="14825" y="21025"/>
                  <a:pt x="14961" y="21071"/>
                </a:cubicBezTo>
                <a:cubicBezTo>
                  <a:pt x="15189" y="21147"/>
                  <a:pt x="15472" y="21216"/>
                  <a:pt x="15706" y="21244"/>
                </a:cubicBezTo>
                <a:cubicBezTo>
                  <a:pt x="15768" y="21252"/>
                  <a:pt x="16095" y="21365"/>
                  <a:pt x="16116" y="21306"/>
                </a:cubicBezTo>
                <a:cubicBezTo>
                  <a:pt x="16108" y="21329"/>
                  <a:pt x="16443" y="21301"/>
                  <a:pt x="16263" y="21201"/>
                </a:cubicBezTo>
                <a:close/>
                <a:moveTo>
                  <a:pt x="14587" y="20535"/>
                </a:moveTo>
                <a:cubicBezTo>
                  <a:pt x="14613" y="20480"/>
                  <a:pt x="14595" y="20518"/>
                  <a:pt x="14587" y="20535"/>
                </a:cubicBezTo>
                <a:cubicBezTo>
                  <a:pt x="14615" y="20477"/>
                  <a:pt x="14667" y="19955"/>
                  <a:pt x="14646" y="19893"/>
                </a:cubicBezTo>
                <a:cubicBezTo>
                  <a:pt x="14672" y="19912"/>
                  <a:pt x="14704" y="19916"/>
                  <a:pt x="14725" y="19942"/>
                </a:cubicBezTo>
                <a:cubicBezTo>
                  <a:pt x="14719" y="19826"/>
                  <a:pt x="14724" y="19684"/>
                  <a:pt x="14625" y="19570"/>
                </a:cubicBezTo>
                <a:cubicBezTo>
                  <a:pt x="14582" y="19521"/>
                  <a:pt x="14466" y="19573"/>
                  <a:pt x="14476" y="19656"/>
                </a:cubicBezTo>
                <a:cubicBezTo>
                  <a:pt x="14484" y="19728"/>
                  <a:pt x="14595" y="19726"/>
                  <a:pt x="14612" y="19833"/>
                </a:cubicBezTo>
                <a:cubicBezTo>
                  <a:pt x="14544" y="19734"/>
                  <a:pt x="14504" y="19734"/>
                  <a:pt x="14410" y="19686"/>
                </a:cubicBezTo>
                <a:cubicBezTo>
                  <a:pt x="14334" y="19438"/>
                  <a:pt x="14184" y="19343"/>
                  <a:pt x="14241" y="19116"/>
                </a:cubicBezTo>
                <a:cubicBezTo>
                  <a:pt x="14265" y="19025"/>
                  <a:pt x="13866" y="18581"/>
                  <a:pt x="13773" y="18564"/>
                </a:cubicBezTo>
                <a:cubicBezTo>
                  <a:pt x="13610" y="18532"/>
                  <a:pt x="13314" y="18143"/>
                  <a:pt x="13239" y="17978"/>
                </a:cubicBezTo>
                <a:cubicBezTo>
                  <a:pt x="13175" y="17835"/>
                  <a:pt x="12614" y="17619"/>
                  <a:pt x="12740" y="17868"/>
                </a:cubicBezTo>
                <a:cubicBezTo>
                  <a:pt x="12804" y="17994"/>
                  <a:pt x="12911" y="18099"/>
                  <a:pt x="12993" y="18204"/>
                </a:cubicBezTo>
                <a:cubicBezTo>
                  <a:pt x="13074" y="18306"/>
                  <a:pt x="13143" y="18547"/>
                  <a:pt x="13247" y="18604"/>
                </a:cubicBezTo>
                <a:cubicBezTo>
                  <a:pt x="13343" y="18657"/>
                  <a:pt x="13391" y="18728"/>
                  <a:pt x="13410" y="18867"/>
                </a:cubicBezTo>
                <a:cubicBezTo>
                  <a:pt x="13435" y="19052"/>
                  <a:pt x="13571" y="19187"/>
                  <a:pt x="13642" y="19345"/>
                </a:cubicBezTo>
                <a:cubicBezTo>
                  <a:pt x="13726" y="19532"/>
                  <a:pt x="13738" y="19854"/>
                  <a:pt x="13898" y="19967"/>
                </a:cubicBezTo>
                <a:cubicBezTo>
                  <a:pt x="13999" y="20039"/>
                  <a:pt x="14049" y="20239"/>
                  <a:pt x="14159" y="20332"/>
                </a:cubicBezTo>
                <a:cubicBezTo>
                  <a:pt x="14218" y="20381"/>
                  <a:pt x="14320" y="20591"/>
                  <a:pt x="14373" y="20604"/>
                </a:cubicBezTo>
                <a:cubicBezTo>
                  <a:pt x="14369" y="20571"/>
                  <a:pt x="14355" y="20530"/>
                  <a:pt x="14378" y="20503"/>
                </a:cubicBezTo>
                <a:cubicBezTo>
                  <a:pt x="14413" y="20525"/>
                  <a:pt x="14560" y="20593"/>
                  <a:pt x="14587" y="20535"/>
                </a:cubicBezTo>
                <a:cubicBezTo>
                  <a:pt x="14584" y="20542"/>
                  <a:pt x="14582" y="20546"/>
                  <a:pt x="14587" y="20535"/>
                </a:cubicBezTo>
                <a:close/>
                <a:moveTo>
                  <a:pt x="18008" y="18723"/>
                </a:moveTo>
                <a:cubicBezTo>
                  <a:pt x="17983" y="18750"/>
                  <a:pt x="17963" y="18782"/>
                  <a:pt x="17947" y="18819"/>
                </a:cubicBezTo>
                <a:cubicBezTo>
                  <a:pt x="17734" y="19148"/>
                  <a:pt x="17442" y="18778"/>
                  <a:pt x="17197" y="18912"/>
                </a:cubicBezTo>
                <a:cubicBezTo>
                  <a:pt x="17066" y="18984"/>
                  <a:pt x="16845" y="19897"/>
                  <a:pt x="16936" y="20034"/>
                </a:cubicBezTo>
                <a:cubicBezTo>
                  <a:pt x="16988" y="20112"/>
                  <a:pt x="17002" y="20686"/>
                  <a:pt x="17101" y="20570"/>
                </a:cubicBezTo>
                <a:cubicBezTo>
                  <a:pt x="17213" y="20440"/>
                  <a:pt x="17177" y="20077"/>
                  <a:pt x="17157" y="19905"/>
                </a:cubicBezTo>
                <a:cubicBezTo>
                  <a:pt x="17424" y="19728"/>
                  <a:pt x="17188" y="20552"/>
                  <a:pt x="17558" y="20246"/>
                </a:cubicBezTo>
                <a:cubicBezTo>
                  <a:pt x="17629" y="20187"/>
                  <a:pt x="17419" y="19764"/>
                  <a:pt x="17386" y="19700"/>
                </a:cubicBezTo>
                <a:cubicBezTo>
                  <a:pt x="17326" y="19586"/>
                  <a:pt x="17694" y="19451"/>
                  <a:pt x="17705" y="19360"/>
                </a:cubicBezTo>
                <a:cubicBezTo>
                  <a:pt x="17715" y="19275"/>
                  <a:pt x="16935" y="19751"/>
                  <a:pt x="17124" y="19135"/>
                </a:cubicBezTo>
                <a:cubicBezTo>
                  <a:pt x="17171" y="18983"/>
                  <a:pt x="17519" y="19053"/>
                  <a:pt x="17608" y="19065"/>
                </a:cubicBezTo>
                <a:cubicBezTo>
                  <a:pt x="17718" y="19079"/>
                  <a:pt x="17835" y="19134"/>
                  <a:pt x="17920" y="19006"/>
                </a:cubicBezTo>
                <a:cubicBezTo>
                  <a:pt x="17927" y="18996"/>
                  <a:pt x="18090" y="18686"/>
                  <a:pt x="18008" y="18723"/>
                </a:cubicBezTo>
                <a:close/>
                <a:moveTo>
                  <a:pt x="16704" y="13082"/>
                </a:moveTo>
                <a:cubicBezTo>
                  <a:pt x="16613" y="13312"/>
                  <a:pt x="16783" y="13423"/>
                  <a:pt x="16840" y="13609"/>
                </a:cubicBezTo>
                <a:cubicBezTo>
                  <a:pt x="16841" y="13609"/>
                  <a:pt x="16850" y="13609"/>
                  <a:pt x="16852" y="13609"/>
                </a:cubicBezTo>
                <a:cubicBezTo>
                  <a:pt x="16855" y="13521"/>
                  <a:pt x="17025" y="12818"/>
                  <a:pt x="16888" y="12816"/>
                </a:cubicBezTo>
                <a:cubicBezTo>
                  <a:pt x="16888" y="12816"/>
                  <a:pt x="16888" y="12816"/>
                  <a:pt x="16888" y="12816"/>
                </a:cubicBezTo>
                <a:cubicBezTo>
                  <a:pt x="16848" y="12816"/>
                  <a:pt x="16878" y="12816"/>
                  <a:pt x="16888" y="12816"/>
                </a:cubicBezTo>
                <a:cubicBezTo>
                  <a:pt x="16771" y="12816"/>
                  <a:pt x="16747" y="12972"/>
                  <a:pt x="16704" y="13082"/>
                </a:cubicBezTo>
                <a:close/>
                <a:moveTo>
                  <a:pt x="17712" y="10844"/>
                </a:moveTo>
                <a:cubicBezTo>
                  <a:pt x="17703" y="10863"/>
                  <a:pt x="17708" y="10853"/>
                  <a:pt x="17712" y="10844"/>
                </a:cubicBezTo>
                <a:cubicBezTo>
                  <a:pt x="17692" y="10887"/>
                  <a:pt x="17822" y="11096"/>
                  <a:pt x="17838" y="11109"/>
                </a:cubicBezTo>
                <a:cubicBezTo>
                  <a:pt x="17849" y="11118"/>
                  <a:pt x="17865" y="11124"/>
                  <a:pt x="17877" y="11126"/>
                </a:cubicBezTo>
                <a:cubicBezTo>
                  <a:pt x="17878" y="11096"/>
                  <a:pt x="17839" y="10886"/>
                  <a:pt x="17827" y="10899"/>
                </a:cubicBezTo>
                <a:cubicBezTo>
                  <a:pt x="17897" y="10821"/>
                  <a:pt x="17903" y="11539"/>
                  <a:pt x="18077" y="11380"/>
                </a:cubicBezTo>
                <a:cubicBezTo>
                  <a:pt x="18170" y="11297"/>
                  <a:pt x="18111" y="11168"/>
                  <a:pt x="18118" y="11055"/>
                </a:cubicBezTo>
                <a:cubicBezTo>
                  <a:pt x="18128" y="10876"/>
                  <a:pt x="18099" y="10972"/>
                  <a:pt x="18021" y="10859"/>
                </a:cubicBezTo>
                <a:cubicBezTo>
                  <a:pt x="18036" y="10845"/>
                  <a:pt x="17825" y="10607"/>
                  <a:pt x="17712" y="10844"/>
                </a:cubicBezTo>
                <a:cubicBezTo>
                  <a:pt x="17714" y="10841"/>
                  <a:pt x="17715" y="10839"/>
                  <a:pt x="17716" y="10837"/>
                </a:cubicBezTo>
                <a:cubicBezTo>
                  <a:pt x="17715" y="10838"/>
                  <a:pt x="17714" y="10841"/>
                  <a:pt x="17712" y="10844"/>
                </a:cubicBezTo>
                <a:close/>
                <a:moveTo>
                  <a:pt x="18155" y="10981"/>
                </a:moveTo>
                <a:cubicBezTo>
                  <a:pt x="18156" y="10983"/>
                  <a:pt x="18157" y="10984"/>
                  <a:pt x="18157" y="10986"/>
                </a:cubicBezTo>
                <a:lnTo>
                  <a:pt x="18157" y="10980"/>
                </a:lnTo>
                <a:cubicBezTo>
                  <a:pt x="18156" y="10981"/>
                  <a:pt x="18156" y="10981"/>
                  <a:pt x="18155" y="10981"/>
                </a:cubicBezTo>
                <a:close/>
                <a:moveTo>
                  <a:pt x="18494" y="10870"/>
                </a:moveTo>
                <a:cubicBezTo>
                  <a:pt x="18495" y="10871"/>
                  <a:pt x="18495" y="10871"/>
                  <a:pt x="18494" y="10870"/>
                </a:cubicBezTo>
                <a:cubicBezTo>
                  <a:pt x="18471" y="10838"/>
                  <a:pt x="18547" y="10731"/>
                  <a:pt x="18554" y="10729"/>
                </a:cubicBezTo>
                <a:cubicBezTo>
                  <a:pt x="18453" y="10479"/>
                  <a:pt x="18199" y="10696"/>
                  <a:pt x="18150" y="10851"/>
                </a:cubicBezTo>
                <a:cubicBezTo>
                  <a:pt x="18209" y="10805"/>
                  <a:pt x="18269" y="11010"/>
                  <a:pt x="18342" y="10999"/>
                </a:cubicBezTo>
                <a:cubicBezTo>
                  <a:pt x="18354" y="10871"/>
                  <a:pt x="18377" y="10711"/>
                  <a:pt x="18494" y="10870"/>
                </a:cubicBezTo>
                <a:close/>
                <a:moveTo>
                  <a:pt x="18925" y="10455"/>
                </a:moveTo>
                <a:cubicBezTo>
                  <a:pt x="19074" y="10535"/>
                  <a:pt x="18998" y="10353"/>
                  <a:pt x="19082" y="10331"/>
                </a:cubicBezTo>
                <a:cubicBezTo>
                  <a:pt x="19143" y="10315"/>
                  <a:pt x="19102" y="10429"/>
                  <a:pt x="19140" y="10453"/>
                </a:cubicBezTo>
                <a:cubicBezTo>
                  <a:pt x="19161" y="10466"/>
                  <a:pt x="19182" y="10192"/>
                  <a:pt x="19268" y="10229"/>
                </a:cubicBezTo>
                <a:cubicBezTo>
                  <a:pt x="19270" y="10283"/>
                  <a:pt x="19281" y="10332"/>
                  <a:pt x="19303" y="10378"/>
                </a:cubicBezTo>
                <a:cubicBezTo>
                  <a:pt x="19331" y="10411"/>
                  <a:pt x="19368" y="10180"/>
                  <a:pt x="19390" y="10163"/>
                </a:cubicBezTo>
                <a:cubicBezTo>
                  <a:pt x="19189" y="10042"/>
                  <a:pt x="19220" y="9561"/>
                  <a:pt x="19213" y="9410"/>
                </a:cubicBezTo>
                <a:cubicBezTo>
                  <a:pt x="19203" y="9250"/>
                  <a:pt x="18945" y="8663"/>
                  <a:pt x="18789" y="8793"/>
                </a:cubicBezTo>
                <a:cubicBezTo>
                  <a:pt x="18688" y="8878"/>
                  <a:pt x="18903" y="9380"/>
                  <a:pt x="18921" y="9513"/>
                </a:cubicBezTo>
                <a:cubicBezTo>
                  <a:pt x="18942" y="9666"/>
                  <a:pt x="18831" y="9812"/>
                  <a:pt x="18747" y="9883"/>
                </a:cubicBezTo>
                <a:cubicBezTo>
                  <a:pt x="18578" y="10022"/>
                  <a:pt x="18681" y="9752"/>
                  <a:pt x="18616" y="9737"/>
                </a:cubicBezTo>
                <a:cubicBezTo>
                  <a:pt x="18570" y="9727"/>
                  <a:pt x="18579" y="10013"/>
                  <a:pt x="18565" y="10058"/>
                </a:cubicBezTo>
                <a:cubicBezTo>
                  <a:pt x="18497" y="10271"/>
                  <a:pt x="18631" y="10204"/>
                  <a:pt x="18427" y="10176"/>
                </a:cubicBezTo>
                <a:cubicBezTo>
                  <a:pt x="18351" y="10166"/>
                  <a:pt x="18089" y="10234"/>
                  <a:pt x="18044" y="10303"/>
                </a:cubicBezTo>
                <a:cubicBezTo>
                  <a:pt x="18047" y="10299"/>
                  <a:pt x="17883" y="10560"/>
                  <a:pt x="17859" y="10523"/>
                </a:cubicBezTo>
                <a:cubicBezTo>
                  <a:pt x="17899" y="10754"/>
                  <a:pt x="18464" y="10422"/>
                  <a:pt x="18580" y="10472"/>
                </a:cubicBezTo>
                <a:cubicBezTo>
                  <a:pt x="18585" y="10596"/>
                  <a:pt x="18609" y="10680"/>
                  <a:pt x="18703" y="10735"/>
                </a:cubicBezTo>
                <a:cubicBezTo>
                  <a:pt x="18753" y="10764"/>
                  <a:pt x="18816" y="10592"/>
                  <a:pt x="18840" y="10543"/>
                </a:cubicBezTo>
                <a:cubicBezTo>
                  <a:pt x="18865" y="10494"/>
                  <a:pt x="18720" y="10465"/>
                  <a:pt x="18769" y="10389"/>
                </a:cubicBezTo>
                <a:cubicBezTo>
                  <a:pt x="18797" y="10347"/>
                  <a:pt x="18905" y="10444"/>
                  <a:pt x="18925" y="10455"/>
                </a:cubicBezTo>
                <a:close/>
                <a:moveTo>
                  <a:pt x="19160" y="8116"/>
                </a:moveTo>
                <a:lnTo>
                  <a:pt x="19146" y="8111"/>
                </a:lnTo>
                <a:cubicBezTo>
                  <a:pt x="19036" y="8151"/>
                  <a:pt x="19089" y="8247"/>
                  <a:pt x="18906" y="8142"/>
                </a:cubicBezTo>
                <a:cubicBezTo>
                  <a:pt x="18847" y="8108"/>
                  <a:pt x="18485" y="7762"/>
                  <a:pt x="18443" y="7857"/>
                </a:cubicBezTo>
                <a:cubicBezTo>
                  <a:pt x="18479" y="7928"/>
                  <a:pt x="18697" y="8296"/>
                  <a:pt x="18646" y="8380"/>
                </a:cubicBezTo>
                <a:cubicBezTo>
                  <a:pt x="18629" y="8381"/>
                  <a:pt x="18520" y="8340"/>
                  <a:pt x="18499" y="8358"/>
                </a:cubicBezTo>
                <a:cubicBezTo>
                  <a:pt x="18498" y="8393"/>
                  <a:pt x="18522" y="8403"/>
                  <a:pt x="18547" y="8410"/>
                </a:cubicBezTo>
                <a:cubicBezTo>
                  <a:pt x="18531" y="8460"/>
                  <a:pt x="18513" y="8509"/>
                  <a:pt x="18493" y="8557"/>
                </a:cubicBezTo>
                <a:cubicBezTo>
                  <a:pt x="18527" y="8619"/>
                  <a:pt x="18568" y="8674"/>
                  <a:pt x="18615" y="8721"/>
                </a:cubicBezTo>
                <a:cubicBezTo>
                  <a:pt x="18661" y="8865"/>
                  <a:pt x="18800" y="8728"/>
                  <a:pt x="18795" y="8712"/>
                </a:cubicBezTo>
                <a:cubicBezTo>
                  <a:pt x="18774" y="8635"/>
                  <a:pt x="18622" y="8687"/>
                  <a:pt x="18587" y="8598"/>
                </a:cubicBezTo>
                <a:cubicBezTo>
                  <a:pt x="18565" y="8543"/>
                  <a:pt x="18779" y="8529"/>
                  <a:pt x="18804" y="8536"/>
                </a:cubicBezTo>
                <a:cubicBezTo>
                  <a:pt x="18831" y="8543"/>
                  <a:pt x="19142" y="8756"/>
                  <a:pt x="19097" y="8609"/>
                </a:cubicBezTo>
                <a:cubicBezTo>
                  <a:pt x="19047" y="8447"/>
                  <a:pt x="19219" y="8414"/>
                  <a:pt x="19316" y="8366"/>
                </a:cubicBezTo>
                <a:cubicBezTo>
                  <a:pt x="19247" y="8378"/>
                  <a:pt x="19154" y="8192"/>
                  <a:pt x="19160" y="8116"/>
                </a:cubicBezTo>
                <a:close/>
                <a:moveTo>
                  <a:pt x="17646" y="6274"/>
                </a:moveTo>
                <a:cubicBezTo>
                  <a:pt x="17799" y="6419"/>
                  <a:pt x="17943" y="6645"/>
                  <a:pt x="18027" y="6862"/>
                </a:cubicBezTo>
                <a:cubicBezTo>
                  <a:pt x="18080" y="6997"/>
                  <a:pt x="18171" y="7189"/>
                  <a:pt x="18248" y="7303"/>
                </a:cubicBezTo>
                <a:cubicBezTo>
                  <a:pt x="18298" y="7378"/>
                  <a:pt x="18389" y="7663"/>
                  <a:pt x="18474" y="7676"/>
                </a:cubicBezTo>
                <a:cubicBezTo>
                  <a:pt x="18421" y="7470"/>
                  <a:pt x="18534" y="7473"/>
                  <a:pt x="18607" y="7547"/>
                </a:cubicBezTo>
                <a:cubicBezTo>
                  <a:pt x="18461" y="7353"/>
                  <a:pt x="18082" y="7060"/>
                  <a:pt x="18198" y="6858"/>
                </a:cubicBezTo>
                <a:cubicBezTo>
                  <a:pt x="18255" y="6759"/>
                  <a:pt x="18499" y="7018"/>
                  <a:pt x="18519" y="7049"/>
                </a:cubicBezTo>
                <a:cubicBezTo>
                  <a:pt x="18357" y="6801"/>
                  <a:pt x="18126" y="6627"/>
                  <a:pt x="17961" y="6378"/>
                </a:cubicBezTo>
                <a:cubicBezTo>
                  <a:pt x="17806" y="6144"/>
                  <a:pt x="17586" y="5734"/>
                  <a:pt x="17350" y="5619"/>
                </a:cubicBezTo>
                <a:cubicBezTo>
                  <a:pt x="17325" y="5663"/>
                  <a:pt x="17472" y="5827"/>
                  <a:pt x="17478" y="5878"/>
                </a:cubicBezTo>
                <a:cubicBezTo>
                  <a:pt x="17465" y="5877"/>
                  <a:pt x="17376" y="5743"/>
                  <a:pt x="17378" y="5856"/>
                </a:cubicBezTo>
                <a:cubicBezTo>
                  <a:pt x="17378" y="5852"/>
                  <a:pt x="17378" y="5849"/>
                  <a:pt x="17378" y="5857"/>
                </a:cubicBezTo>
                <a:cubicBezTo>
                  <a:pt x="17379" y="5869"/>
                  <a:pt x="17378" y="5863"/>
                  <a:pt x="17378" y="5857"/>
                </a:cubicBezTo>
                <a:cubicBezTo>
                  <a:pt x="17381" y="5928"/>
                  <a:pt x="17603" y="6232"/>
                  <a:pt x="17646" y="6274"/>
                </a:cubicBezTo>
                <a:close/>
                <a:moveTo>
                  <a:pt x="18607" y="7547"/>
                </a:moveTo>
                <a:cubicBezTo>
                  <a:pt x="18635" y="7584"/>
                  <a:pt x="18654" y="7616"/>
                  <a:pt x="18660" y="7644"/>
                </a:cubicBezTo>
                <a:cubicBezTo>
                  <a:pt x="18653" y="7607"/>
                  <a:pt x="18633" y="7573"/>
                  <a:pt x="18607" y="7547"/>
                </a:cubicBezTo>
                <a:close/>
                <a:moveTo>
                  <a:pt x="12796" y="1135"/>
                </a:moveTo>
                <a:cubicBezTo>
                  <a:pt x="12751" y="1122"/>
                  <a:pt x="12895" y="1166"/>
                  <a:pt x="12796" y="1135"/>
                </a:cubicBezTo>
                <a:cubicBezTo>
                  <a:pt x="12796" y="1135"/>
                  <a:pt x="12796" y="1135"/>
                  <a:pt x="12796" y="1135"/>
                </a:cubicBezTo>
                <a:close/>
                <a:moveTo>
                  <a:pt x="12796" y="1135"/>
                </a:moveTo>
                <a:cubicBezTo>
                  <a:pt x="12907" y="1169"/>
                  <a:pt x="13566" y="1269"/>
                  <a:pt x="13631" y="1102"/>
                </a:cubicBezTo>
                <a:cubicBezTo>
                  <a:pt x="13663" y="1018"/>
                  <a:pt x="12743" y="910"/>
                  <a:pt x="12645" y="914"/>
                </a:cubicBezTo>
                <a:cubicBezTo>
                  <a:pt x="12600" y="1062"/>
                  <a:pt x="12710" y="1110"/>
                  <a:pt x="12796" y="1135"/>
                </a:cubicBezTo>
                <a:close/>
                <a:moveTo>
                  <a:pt x="6624" y="191"/>
                </a:moveTo>
                <a:cubicBezTo>
                  <a:pt x="6624" y="192"/>
                  <a:pt x="6625" y="195"/>
                  <a:pt x="6626" y="199"/>
                </a:cubicBezTo>
                <a:cubicBezTo>
                  <a:pt x="6626" y="196"/>
                  <a:pt x="6625" y="194"/>
                  <a:pt x="6624" y="191"/>
                </a:cubicBezTo>
                <a:cubicBezTo>
                  <a:pt x="6624" y="191"/>
                  <a:pt x="6624" y="191"/>
                  <a:pt x="6624" y="191"/>
                </a:cubicBezTo>
                <a:close/>
                <a:moveTo>
                  <a:pt x="6637" y="229"/>
                </a:moveTo>
                <a:cubicBezTo>
                  <a:pt x="6645" y="251"/>
                  <a:pt x="6651" y="268"/>
                  <a:pt x="6637" y="229"/>
                </a:cubicBezTo>
                <a:cubicBezTo>
                  <a:pt x="6637" y="229"/>
                  <a:pt x="6637" y="229"/>
                  <a:pt x="6637" y="229"/>
                </a:cubicBezTo>
                <a:close/>
                <a:moveTo>
                  <a:pt x="6637" y="229"/>
                </a:moveTo>
                <a:cubicBezTo>
                  <a:pt x="6637" y="228"/>
                  <a:pt x="6636" y="225"/>
                  <a:pt x="6635" y="224"/>
                </a:cubicBezTo>
                <a:cubicBezTo>
                  <a:pt x="6636" y="225"/>
                  <a:pt x="6637" y="227"/>
                  <a:pt x="6637" y="229"/>
                </a:cubicBezTo>
                <a:close/>
                <a:moveTo>
                  <a:pt x="6626" y="199"/>
                </a:moveTo>
                <a:cubicBezTo>
                  <a:pt x="6629" y="205"/>
                  <a:pt x="6632" y="215"/>
                  <a:pt x="6635" y="224"/>
                </a:cubicBezTo>
                <a:cubicBezTo>
                  <a:pt x="6633" y="217"/>
                  <a:pt x="6630" y="209"/>
                  <a:pt x="6626" y="199"/>
                </a:cubicBezTo>
                <a:close/>
                <a:moveTo>
                  <a:pt x="6639" y="191"/>
                </a:moveTo>
                <a:cubicBezTo>
                  <a:pt x="6700" y="344"/>
                  <a:pt x="6882" y="206"/>
                  <a:pt x="6974" y="224"/>
                </a:cubicBezTo>
                <a:cubicBezTo>
                  <a:pt x="6891" y="274"/>
                  <a:pt x="7101" y="361"/>
                  <a:pt x="7127" y="364"/>
                </a:cubicBezTo>
                <a:cubicBezTo>
                  <a:pt x="7319" y="388"/>
                  <a:pt x="7515" y="426"/>
                  <a:pt x="7709" y="415"/>
                </a:cubicBezTo>
                <a:cubicBezTo>
                  <a:pt x="7714" y="407"/>
                  <a:pt x="7716" y="403"/>
                  <a:pt x="7718" y="393"/>
                </a:cubicBezTo>
                <a:cubicBezTo>
                  <a:pt x="7615" y="349"/>
                  <a:pt x="7588" y="217"/>
                  <a:pt x="7471" y="203"/>
                </a:cubicBezTo>
                <a:cubicBezTo>
                  <a:pt x="7304" y="184"/>
                  <a:pt x="7240" y="132"/>
                  <a:pt x="7094" y="42"/>
                </a:cubicBezTo>
                <a:cubicBezTo>
                  <a:pt x="7017" y="-6"/>
                  <a:pt x="6518" y="-65"/>
                  <a:pt x="6639" y="191"/>
                </a:cubicBezTo>
                <a:cubicBezTo>
                  <a:pt x="6639" y="191"/>
                  <a:pt x="6639" y="191"/>
                  <a:pt x="6639" y="191"/>
                </a:cubicBezTo>
                <a:close/>
                <a:moveTo>
                  <a:pt x="3049" y="1821"/>
                </a:moveTo>
                <a:cubicBezTo>
                  <a:pt x="3097" y="1824"/>
                  <a:pt x="3068" y="1822"/>
                  <a:pt x="3049" y="1821"/>
                </a:cubicBezTo>
                <a:cubicBezTo>
                  <a:pt x="3259" y="1833"/>
                  <a:pt x="3444" y="2105"/>
                  <a:pt x="3693" y="1983"/>
                </a:cubicBezTo>
                <a:cubicBezTo>
                  <a:pt x="3695" y="1975"/>
                  <a:pt x="3695" y="1959"/>
                  <a:pt x="3693" y="1951"/>
                </a:cubicBezTo>
                <a:cubicBezTo>
                  <a:pt x="3378" y="1819"/>
                  <a:pt x="3267" y="1534"/>
                  <a:pt x="3575" y="1251"/>
                </a:cubicBezTo>
                <a:cubicBezTo>
                  <a:pt x="3878" y="973"/>
                  <a:pt x="4250" y="1072"/>
                  <a:pt x="4563" y="873"/>
                </a:cubicBezTo>
                <a:cubicBezTo>
                  <a:pt x="4434" y="627"/>
                  <a:pt x="4069" y="857"/>
                  <a:pt x="3881" y="855"/>
                </a:cubicBezTo>
                <a:cubicBezTo>
                  <a:pt x="3631" y="853"/>
                  <a:pt x="3298" y="977"/>
                  <a:pt x="3102" y="1185"/>
                </a:cubicBezTo>
                <a:cubicBezTo>
                  <a:pt x="3040" y="1251"/>
                  <a:pt x="3027" y="1414"/>
                  <a:pt x="3008" y="1500"/>
                </a:cubicBezTo>
                <a:cubicBezTo>
                  <a:pt x="2968" y="1677"/>
                  <a:pt x="2751" y="1804"/>
                  <a:pt x="3049" y="1821"/>
                </a:cubicBezTo>
                <a:close/>
                <a:moveTo>
                  <a:pt x="10216" y="16862"/>
                </a:moveTo>
                <a:cubicBezTo>
                  <a:pt x="10007" y="16414"/>
                  <a:pt x="9990" y="17186"/>
                  <a:pt x="10036" y="17376"/>
                </a:cubicBezTo>
                <a:cubicBezTo>
                  <a:pt x="10092" y="17606"/>
                  <a:pt x="10129" y="17705"/>
                  <a:pt x="10318" y="17537"/>
                </a:cubicBezTo>
                <a:cubicBezTo>
                  <a:pt x="10499" y="17376"/>
                  <a:pt x="10291" y="17023"/>
                  <a:pt x="10216" y="16863"/>
                </a:cubicBezTo>
                <a:cubicBezTo>
                  <a:pt x="10225" y="16883"/>
                  <a:pt x="10244" y="16922"/>
                  <a:pt x="10216" y="16862"/>
                </a:cubicBezTo>
                <a:close/>
                <a:moveTo>
                  <a:pt x="10216" y="16862"/>
                </a:moveTo>
                <a:cubicBezTo>
                  <a:pt x="10216" y="16862"/>
                  <a:pt x="10216" y="16862"/>
                  <a:pt x="10216" y="16863"/>
                </a:cubicBezTo>
                <a:cubicBezTo>
                  <a:pt x="10211" y="16852"/>
                  <a:pt x="10209" y="16847"/>
                  <a:pt x="10216" y="16862"/>
                </a:cubicBezTo>
                <a:close/>
                <a:moveTo>
                  <a:pt x="17680" y="20444"/>
                </a:moveTo>
                <a:cubicBezTo>
                  <a:pt x="17677" y="20432"/>
                  <a:pt x="17678" y="20435"/>
                  <a:pt x="17679" y="20439"/>
                </a:cubicBezTo>
                <a:cubicBezTo>
                  <a:pt x="17647" y="20338"/>
                  <a:pt x="17562" y="20187"/>
                  <a:pt x="17562" y="20438"/>
                </a:cubicBezTo>
                <a:cubicBezTo>
                  <a:pt x="17562" y="20640"/>
                  <a:pt x="17719" y="20588"/>
                  <a:pt x="17681" y="20445"/>
                </a:cubicBezTo>
                <a:cubicBezTo>
                  <a:pt x="17681" y="20446"/>
                  <a:pt x="17681" y="20446"/>
                  <a:pt x="17680" y="20444"/>
                </a:cubicBezTo>
                <a:close/>
                <a:moveTo>
                  <a:pt x="20845" y="19801"/>
                </a:moveTo>
                <a:cubicBezTo>
                  <a:pt x="20845" y="19756"/>
                  <a:pt x="20831" y="19752"/>
                  <a:pt x="20720" y="19722"/>
                </a:cubicBezTo>
                <a:cubicBezTo>
                  <a:pt x="20484" y="19667"/>
                  <a:pt x="20309" y="19366"/>
                  <a:pt x="20078" y="19540"/>
                </a:cubicBezTo>
                <a:lnTo>
                  <a:pt x="20083" y="19581"/>
                </a:lnTo>
                <a:lnTo>
                  <a:pt x="20066" y="19592"/>
                </a:lnTo>
                <a:cubicBezTo>
                  <a:pt x="20073" y="19603"/>
                  <a:pt x="20078" y="19616"/>
                  <a:pt x="20080" y="19629"/>
                </a:cubicBezTo>
                <a:cubicBezTo>
                  <a:pt x="19967" y="19665"/>
                  <a:pt x="19867" y="19933"/>
                  <a:pt x="19784" y="19933"/>
                </a:cubicBezTo>
                <a:cubicBezTo>
                  <a:pt x="19806" y="19933"/>
                  <a:pt x="19649" y="19674"/>
                  <a:pt x="19649" y="19726"/>
                </a:cubicBezTo>
                <a:cubicBezTo>
                  <a:pt x="19591" y="19599"/>
                  <a:pt x="19738" y="19263"/>
                  <a:pt x="19533" y="19263"/>
                </a:cubicBezTo>
                <a:cubicBezTo>
                  <a:pt x="19510" y="19243"/>
                  <a:pt x="19395" y="19210"/>
                  <a:pt x="19371" y="19200"/>
                </a:cubicBezTo>
                <a:cubicBezTo>
                  <a:pt x="19228" y="19141"/>
                  <a:pt x="19205" y="19326"/>
                  <a:pt x="19144" y="19326"/>
                </a:cubicBezTo>
                <a:cubicBezTo>
                  <a:pt x="19123" y="19314"/>
                  <a:pt x="19057" y="19299"/>
                  <a:pt x="19047" y="19341"/>
                </a:cubicBezTo>
                <a:cubicBezTo>
                  <a:pt x="18878" y="19223"/>
                  <a:pt x="19194" y="19742"/>
                  <a:pt x="19275" y="19766"/>
                </a:cubicBezTo>
                <a:cubicBezTo>
                  <a:pt x="19141" y="19798"/>
                  <a:pt x="19298" y="20026"/>
                  <a:pt x="19315" y="20115"/>
                </a:cubicBezTo>
                <a:cubicBezTo>
                  <a:pt x="19376" y="20426"/>
                  <a:pt x="19468" y="20101"/>
                  <a:pt x="19519" y="20101"/>
                </a:cubicBezTo>
                <a:cubicBezTo>
                  <a:pt x="19605" y="20101"/>
                  <a:pt x="19914" y="20363"/>
                  <a:pt x="20018" y="20411"/>
                </a:cubicBezTo>
                <a:cubicBezTo>
                  <a:pt x="20127" y="20461"/>
                  <a:pt x="20181" y="20479"/>
                  <a:pt x="20248" y="20607"/>
                </a:cubicBezTo>
                <a:cubicBezTo>
                  <a:pt x="20277" y="20661"/>
                  <a:pt x="20274" y="20778"/>
                  <a:pt x="20326" y="20815"/>
                </a:cubicBezTo>
                <a:cubicBezTo>
                  <a:pt x="20319" y="20858"/>
                  <a:pt x="20311" y="20886"/>
                  <a:pt x="20321" y="20928"/>
                </a:cubicBezTo>
                <a:cubicBezTo>
                  <a:pt x="20186" y="20961"/>
                  <a:pt x="20099" y="21117"/>
                  <a:pt x="20109" y="21286"/>
                </a:cubicBezTo>
                <a:cubicBezTo>
                  <a:pt x="20228" y="21294"/>
                  <a:pt x="20372" y="21234"/>
                  <a:pt x="20433" y="21234"/>
                </a:cubicBezTo>
                <a:lnTo>
                  <a:pt x="20433" y="21233"/>
                </a:lnTo>
                <a:cubicBezTo>
                  <a:pt x="20433" y="21142"/>
                  <a:pt x="20719" y="21510"/>
                  <a:pt x="20736" y="21535"/>
                </a:cubicBezTo>
                <a:cubicBezTo>
                  <a:pt x="20771" y="21316"/>
                  <a:pt x="20771" y="21081"/>
                  <a:pt x="20799" y="20857"/>
                </a:cubicBezTo>
                <a:lnTo>
                  <a:pt x="20771" y="20809"/>
                </a:lnTo>
                <a:cubicBezTo>
                  <a:pt x="20895" y="20557"/>
                  <a:pt x="20831" y="20091"/>
                  <a:pt x="20845" y="19801"/>
                </a:cubicBezTo>
                <a:close/>
                <a:moveTo>
                  <a:pt x="21482" y="3136"/>
                </a:moveTo>
                <a:cubicBezTo>
                  <a:pt x="21484" y="3136"/>
                  <a:pt x="21512" y="3136"/>
                  <a:pt x="21512" y="3136"/>
                </a:cubicBezTo>
                <a:cubicBezTo>
                  <a:pt x="21524" y="3110"/>
                  <a:pt x="21544" y="3089"/>
                  <a:pt x="21567" y="3075"/>
                </a:cubicBezTo>
                <a:cubicBezTo>
                  <a:pt x="21432" y="2793"/>
                  <a:pt x="21025" y="2732"/>
                  <a:pt x="20788" y="2699"/>
                </a:cubicBezTo>
                <a:cubicBezTo>
                  <a:pt x="20424" y="2699"/>
                  <a:pt x="20032" y="2429"/>
                  <a:pt x="19669" y="2355"/>
                </a:cubicBezTo>
                <a:cubicBezTo>
                  <a:pt x="19252" y="2271"/>
                  <a:pt x="18850" y="2097"/>
                  <a:pt x="18423" y="2086"/>
                </a:cubicBezTo>
                <a:cubicBezTo>
                  <a:pt x="18281" y="2082"/>
                  <a:pt x="18025" y="1964"/>
                  <a:pt x="17928" y="2085"/>
                </a:cubicBezTo>
                <a:cubicBezTo>
                  <a:pt x="17787" y="1963"/>
                  <a:pt x="17753" y="2111"/>
                  <a:pt x="17640" y="2116"/>
                </a:cubicBezTo>
                <a:cubicBezTo>
                  <a:pt x="17589" y="2193"/>
                  <a:pt x="17369" y="2124"/>
                  <a:pt x="17309" y="2114"/>
                </a:cubicBezTo>
                <a:cubicBezTo>
                  <a:pt x="17131" y="2085"/>
                  <a:pt x="16946" y="2126"/>
                  <a:pt x="16770" y="2090"/>
                </a:cubicBezTo>
                <a:cubicBezTo>
                  <a:pt x="16661" y="2068"/>
                  <a:pt x="16615" y="1921"/>
                  <a:pt x="16498" y="1897"/>
                </a:cubicBezTo>
                <a:cubicBezTo>
                  <a:pt x="16256" y="1847"/>
                  <a:pt x="15932" y="1733"/>
                  <a:pt x="15687" y="1852"/>
                </a:cubicBezTo>
                <a:cubicBezTo>
                  <a:pt x="15505" y="1940"/>
                  <a:pt x="15223" y="1766"/>
                  <a:pt x="15033" y="1732"/>
                </a:cubicBezTo>
                <a:cubicBezTo>
                  <a:pt x="15028" y="1585"/>
                  <a:pt x="14601" y="1491"/>
                  <a:pt x="14524" y="1604"/>
                </a:cubicBezTo>
                <a:cubicBezTo>
                  <a:pt x="14389" y="1489"/>
                  <a:pt x="14096" y="1512"/>
                  <a:pt x="13941" y="1503"/>
                </a:cubicBezTo>
                <a:lnTo>
                  <a:pt x="13941" y="1502"/>
                </a:lnTo>
                <a:cubicBezTo>
                  <a:pt x="13859" y="1397"/>
                  <a:pt x="13713" y="1363"/>
                  <a:pt x="13601" y="1377"/>
                </a:cubicBezTo>
                <a:cubicBezTo>
                  <a:pt x="13463" y="1395"/>
                  <a:pt x="13552" y="1500"/>
                  <a:pt x="13642" y="1496"/>
                </a:cubicBezTo>
                <a:cubicBezTo>
                  <a:pt x="13538" y="1516"/>
                  <a:pt x="13426" y="1657"/>
                  <a:pt x="13589" y="1732"/>
                </a:cubicBezTo>
                <a:cubicBezTo>
                  <a:pt x="13432" y="1749"/>
                  <a:pt x="13289" y="1736"/>
                  <a:pt x="13132" y="1770"/>
                </a:cubicBezTo>
                <a:cubicBezTo>
                  <a:pt x="13010" y="1796"/>
                  <a:pt x="12688" y="1530"/>
                  <a:pt x="12823" y="1894"/>
                </a:cubicBezTo>
                <a:cubicBezTo>
                  <a:pt x="12699" y="1866"/>
                  <a:pt x="12578" y="1803"/>
                  <a:pt x="12462" y="1744"/>
                </a:cubicBezTo>
                <a:lnTo>
                  <a:pt x="12468" y="1739"/>
                </a:lnTo>
                <a:lnTo>
                  <a:pt x="12445" y="1651"/>
                </a:lnTo>
                <a:cubicBezTo>
                  <a:pt x="12201" y="1356"/>
                  <a:pt x="11570" y="1196"/>
                  <a:pt x="11249" y="1384"/>
                </a:cubicBezTo>
                <a:cubicBezTo>
                  <a:pt x="11292" y="1402"/>
                  <a:pt x="11339" y="1419"/>
                  <a:pt x="11379" y="1446"/>
                </a:cubicBezTo>
                <a:cubicBezTo>
                  <a:pt x="11235" y="1453"/>
                  <a:pt x="11040" y="1498"/>
                  <a:pt x="10902" y="1435"/>
                </a:cubicBezTo>
                <a:cubicBezTo>
                  <a:pt x="10924" y="1410"/>
                  <a:pt x="10943" y="1372"/>
                  <a:pt x="10960" y="1341"/>
                </a:cubicBezTo>
                <a:cubicBezTo>
                  <a:pt x="10707" y="1338"/>
                  <a:pt x="10460" y="1329"/>
                  <a:pt x="10209" y="1352"/>
                </a:cubicBezTo>
                <a:cubicBezTo>
                  <a:pt x="10151" y="1292"/>
                  <a:pt x="10082" y="1254"/>
                  <a:pt x="10017" y="1207"/>
                </a:cubicBezTo>
                <a:cubicBezTo>
                  <a:pt x="10017" y="1207"/>
                  <a:pt x="10014" y="1302"/>
                  <a:pt x="10014" y="1302"/>
                </a:cubicBezTo>
                <a:cubicBezTo>
                  <a:pt x="9917" y="1297"/>
                  <a:pt x="9781" y="1215"/>
                  <a:pt x="9686" y="1274"/>
                </a:cubicBezTo>
                <a:cubicBezTo>
                  <a:pt x="10299" y="771"/>
                  <a:pt x="9202" y="741"/>
                  <a:pt x="8912" y="764"/>
                </a:cubicBezTo>
                <a:cubicBezTo>
                  <a:pt x="8912" y="763"/>
                  <a:pt x="8942" y="682"/>
                  <a:pt x="8942" y="682"/>
                </a:cubicBezTo>
                <a:cubicBezTo>
                  <a:pt x="8857" y="692"/>
                  <a:pt x="8774" y="674"/>
                  <a:pt x="8690" y="667"/>
                </a:cubicBezTo>
                <a:cubicBezTo>
                  <a:pt x="8692" y="666"/>
                  <a:pt x="8711" y="652"/>
                  <a:pt x="8711" y="652"/>
                </a:cubicBezTo>
                <a:lnTo>
                  <a:pt x="8680" y="562"/>
                </a:lnTo>
                <a:cubicBezTo>
                  <a:pt x="8568" y="569"/>
                  <a:pt x="8454" y="542"/>
                  <a:pt x="8339" y="545"/>
                </a:cubicBezTo>
                <a:cubicBezTo>
                  <a:pt x="8372" y="543"/>
                  <a:pt x="8389" y="524"/>
                  <a:pt x="8390" y="487"/>
                </a:cubicBezTo>
                <a:cubicBezTo>
                  <a:pt x="8348" y="373"/>
                  <a:pt x="8029" y="432"/>
                  <a:pt x="7984" y="380"/>
                </a:cubicBezTo>
                <a:cubicBezTo>
                  <a:pt x="7880" y="261"/>
                  <a:pt x="7809" y="457"/>
                  <a:pt x="7733" y="455"/>
                </a:cubicBezTo>
                <a:cubicBezTo>
                  <a:pt x="7767" y="710"/>
                  <a:pt x="8058" y="574"/>
                  <a:pt x="8203" y="565"/>
                </a:cubicBezTo>
                <a:cubicBezTo>
                  <a:pt x="8141" y="586"/>
                  <a:pt x="8043" y="670"/>
                  <a:pt x="8093" y="768"/>
                </a:cubicBezTo>
                <a:cubicBezTo>
                  <a:pt x="8012" y="760"/>
                  <a:pt x="7931" y="780"/>
                  <a:pt x="7859" y="828"/>
                </a:cubicBezTo>
                <a:lnTo>
                  <a:pt x="7899" y="850"/>
                </a:lnTo>
                <a:cubicBezTo>
                  <a:pt x="7761" y="924"/>
                  <a:pt x="7599" y="792"/>
                  <a:pt x="7453" y="841"/>
                </a:cubicBezTo>
                <a:cubicBezTo>
                  <a:pt x="7359" y="872"/>
                  <a:pt x="7267" y="899"/>
                  <a:pt x="7171" y="911"/>
                </a:cubicBezTo>
                <a:cubicBezTo>
                  <a:pt x="6973" y="936"/>
                  <a:pt x="6832" y="1042"/>
                  <a:pt x="6697" y="1218"/>
                </a:cubicBezTo>
                <a:lnTo>
                  <a:pt x="6715" y="1300"/>
                </a:lnTo>
                <a:cubicBezTo>
                  <a:pt x="6595" y="1317"/>
                  <a:pt x="5933" y="1282"/>
                  <a:pt x="6309" y="1601"/>
                </a:cubicBezTo>
                <a:cubicBezTo>
                  <a:pt x="6139" y="1560"/>
                  <a:pt x="5956" y="1546"/>
                  <a:pt x="5807" y="1683"/>
                </a:cubicBezTo>
                <a:cubicBezTo>
                  <a:pt x="5762" y="1559"/>
                  <a:pt x="5703" y="1466"/>
                  <a:pt x="5588" y="1483"/>
                </a:cubicBezTo>
                <a:lnTo>
                  <a:pt x="5593" y="1581"/>
                </a:lnTo>
                <a:lnTo>
                  <a:pt x="5611" y="1582"/>
                </a:lnTo>
                <a:cubicBezTo>
                  <a:pt x="5618" y="1583"/>
                  <a:pt x="5633" y="1606"/>
                  <a:pt x="5635" y="1626"/>
                </a:cubicBezTo>
                <a:cubicBezTo>
                  <a:pt x="5565" y="1686"/>
                  <a:pt x="5488" y="1670"/>
                  <a:pt x="5467" y="1800"/>
                </a:cubicBezTo>
                <a:cubicBezTo>
                  <a:pt x="5452" y="1798"/>
                  <a:pt x="5437" y="1795"/>
                  <a:pt x="5422" y="1791"/>
                </a:cubicBezTo>
                <a:cubicBezTo>
                  <a:pt x="5363" y="1613"/>
                  <a:pt x="5452" y="1463"/>
                  <a:pt x="5208" y="1445"/>
                </a:cubicBezTo>
                <a:cubicBezTo>
                  <a:pt x="5135" y="1440"/>
                  <a:pt x="5060" y="1440"/>
                  <a:pt x="4988" y="1440"/>
                </a:cubicBezTo>
                <a:cubicBezTo>
                  <a:pt x="4835" y="1440"/>
                  <a:pt x="4896" y="1579"/>
                  <a:pt x="4862" y="1697"/>
                </a:cubicBezTo>
                <a:cubicBezTo>
                  <a:pt x="4835" y="1790"/>
                  <a:pt x="4726" y="1733"/>
                  <a:pt x="4708" y="1846"/>
                </a:cubicBezTo>
                <a:cubicBezTo>
                  <a:pt x="4689" y="1970"/>
                  <a:pt x="4799" y="1948"/>
                  <a:pt x="4812" y="1996"/>
                </a:cubicBezTo>
                <a:cubicBezTo>
                  <a:pt x="4844" y="2077"/>
                  <a:pt x="4824" y="2151"/>
                  <a:pt x="4867" y="2245"/>
                </a:cubicBezTo>
                <a:cubicBezTo>
                  <a:pt x="4713" y="2182"/>
                  <a:pt x="4560" y="2145"/>
                  <a:pt x="4400" y="2112"/>
                </a:cubicBezTo>
                <a:cubicBezTo>
                  <a:pt x="4221" y="2086"/>
                  <a:pt x="4015" y="1954"/>
                  <a:pt x="3841" y="1954"/>
                </a:cubicBezTo>
                <a:cubicBezTo>
                  <a:pt x="3573" y="1954"/>
                  <a:pt x="4110" y="2290"/>
                  <a:pt x="4127" y="2309"/>
                </a:cubicBezTo>
                <a:cubicBezTo>
                  <a:pt x="4105" y="2315"/>
                  <a:pt x="4083" y="2320"/>
                  <a:pt x="4060" y="2324"/>
                </a:cubicBezTo>
                <a:lnTo>
                  <a:pt x="4065" y="2298"/>
                </a:lnTo>
                <a:cubicBezTo>
                  <a:pt x="3852" y="2201"/>
                  <a:pt x="3571" y="2399"/>
                  <a:pt x="3372" y="2425"/>
                </a:cubicBezTo>
                <a:cubicBezTo>
                  <a:pt x="3370" y="2381"/>
                  <a:pt x="3421" y="2299"/>
                  <a:pt x="3432" y="2250"/>
                </a:cubicBezTo>
                <a:cubicBezTo>
                  <a:pt x="3242" y="2226"/>
                  <a:pt x="3075" y="2344"/>
                  <a:pt x="2898" y="2413"/>
                </a:cubicBezTo>
                <a:cubicBezTo>
                  <a:pt x="2804" y="2450"/>
                  <a:pt x="2559" y="2500"/>
                  <a:pt x="2574" y="2674"/>
                </a:cubicBezTo>
                <a:cubicBezTo>
                  <a:pt x="2584" y="2801"/>
                  <a:pt x="2315" y="2630"/>
                  <a:pt x="2302" y="2618"/>
                </a:cubicBezTo>
                <a:cubicBezTo>
                  <a:pt x="2377" y="2566"/>
                  <a:pt x="2604" y="2549"/>
                  <a:pt x="2395" y="2412"/>
                </a:cubicBezTo>
                <a:cubicBezTo>
                  <a:pt x="2245" y="2314"/>
                  <a:pt x="2091" y="2321"/>
                  <a:pt x="1929" y="2318"/>
                </a:cubicBezTo>
                <a:cubicBezTo>
                  <a:pt x="1937" y="2433"/>
                  <a:pt x="1993" y="2431"/>
                  <a:pt x="2055" y="2493"/>
                </a:cubicBezTo>
                <a:cubicBezTo>
                  <a:pt x="2046" y="2478"/>
                  <a:pt x="2074" y="2893"/>
                  <a:pt x="2169" y="2758"/>
                </a:cubicBezTo>
                <a:cubicBezTo>
                  <a:pt x="2163" y="2794"/>
                  <a:pt x="2158" y="2830"/>
                  <a:pt x="2156" y="2867"/>
                </a:cubicBezTo>
                <a:cubicBezTo>
                  <a:pt x="1969" y="2739"/>
                  <a:pt x="1862" y="2828"/>
                  <a:pt x="1686" y="2928"/>
                </a:cubicBezTo>
                <a:cubicBezTo>
                  <a:pt x="1500" y="3032"/>
                  <a:pt x="1637" y="3097"/>
                  <a:pt x="1707" y="3188"/>
                </a:cubicBezTo>
                <a:cubicBezTo>
                  <a:pt x="1680" y="3244"/>
                  <a:pt x="1425" y="3107"/>
                  <a:pt x="1395" y="3091"/>
                </a:cubicBezTo>
                <a:cubicBezTo>
                  <a:pt x="1324" y="3053"/>
                  <a:pt x="1217" y="3102"/>
                  <a:pt x="1148" y="3140"/>
                </a:cubicBezTo>
                <a:cubicBezTo>
                  <a:pt x="1225" y="3269"/>
                  <a:pt x="1313" y="3308"/>
                  <a:pt x="1425" y="3357"/>
                </a:cubicBezTo>
                <a:cubicBezTo>
                  <a:pt x="1277" y="3479"/>
                  <a:pt x="1067" y="3145"/>
                  <a:pt x="988" y="3080"/>
                </a:cubicBezTo>
                <a:cubicBezTo>
                  <a:pt x="1015" y="3019"/>
                  <a:pt x="1044" y="2956"/>
                  <a:pt x="990" y="2892"/>
                </a:cubicBezTo>
                <a:cubicBezTo>
                  <a:pt x="1164" y="2934"/>
                  <a:pt x="2149" y="3013"/>
                  <a:pt x="1702" y="2525"/>
                </a:cubicBezTo>
                <a:cubicBezTo>
                  <a:pt x="1515" y="2321"/>
                  <a:pt x="920" y="2139"/>
                  <a:pt x="679" y="2180"/>
                </a:cubicBezTo>
                <a:cubicBezTo>
                  <a:pt x="673" y="2165"/>
                  <a:pt x="662" y="2161"/>
                  <a:pt x="647" y="2169"/>
                </a:cubicBezTo>
                <a:cubicBezTo>
                  <a:pt x="682" y="2169"/>
                  <a:pt x="559" y="2063"/>
                  <a:pt x="524" y="2055"/>
                </a:cubicBezTo>
                <a:cubicBezTo>
                  <a:pt x="469" y="2042"/>
                  <a:pt x="389" y="2064"/>
                  <a:pt x="328" y="2064"/>
                </a:cubicBezTo>
                <a:cubicBezTo>
                  <a:pt x="303" y="2062"/>
                  <a:pt x="285" y="2082"/>
                  <a:pt x="285" y="2118"/>
                </a:cubicBezTo>
                <a:cubicBezTo>
                  <a:pt x="266" y="2111"/>
                  <a:pt x="247" y="2104"/>
                  <a:pt x="228" y="2096"/>
                </a:cubicBezTo>
                <a:lnTo>
                  <a:pt x="222" y="2118"/>
                </a:lnTo>
                <a:lnTo>
                  <a:pt x="216" y="2112"/>
                </a:lnTo>
                <a:cubicBezTo>
                  <a:pt x="127" y="2182"/>
                  <a:pt x="72" y="2289"/>
                  <a:pt x="1" y="2385"/>
                </a:cubicBezTo>
                <a:cubicBezTo>
                  <a:pt x="38" y="2448"/>
                  <a:pt x="247" y="2553"/>
                  <a:pt x="193" y="2625"/>
                </a:cubicBezTo>
                <a:cubicBezTo>
                  <a:pt x="81" y="2777"/>
                  <a:pt x="241" y="2837"/>
                  <a:pt x="293" y="2954"/>
                </a:cubicBezTo>
                <a:cubicBezTo>
                  <a:pt x="170" y="3047"/>
                  <a:pt x="319" y="3299"/>
                  <a:pt x="399" y="3343"/>
                </a:cubicBezTo>
                <a:cubicBezTo>
                  <a:pt x="293" y="3475"/>
                  <a:pt x="513" y="3547"/>
                  <a:pt x="565" y="3597"/>
                </a:cubicBezTo>
                <a:cubicBezTo>
                  <a:pt x="607" y="3637"/>
                  <a:pt x="411" y="3845"/>
                  <a:pt x="390" y="3866"/>
                </a:cubicBezTo>
                <a:cubicBezTo>
                  <a:pt x="245" y="4011"/>
                  <a:pt x="119" y="4126"/>
                  <a:pt x="0" y="4306"/>
                </a:cubicBezTo>
                <a:cubicBezTo>
                  <a:pt x="85" y="4284"/>
                  <a:pt x="190" y="4172"/>
                  <a:pt x="266" y="4167"/>
                </a:cubicBezTo>
                <a:cubicBezTo>
                  <a:pt x="283" y="4197"/>
                  <a:pt x="302" y="4226"/>
                  <a:pt x="323" y="4253"/>
                </a:cubicBezTo>
                <a:cubicBezTo>
                  <a:pt x="222" y="4199"/>
                  <a:pt x="162" y="4293"/>
                  <a:pt x="201" y="4411"/>
                </a:cubicBezTo>
                <a:cubicBezTo>
                  <a:pt x="162" y="4553"/>
                  <a:pt x="82" y="4589"/>
                  <a:pt x="175" y="4758"/>
                </a:cubicBezTo>
                <a:cubicBezTo>
                  <a:pt x="78" y="4850"/>
                  <a:pt x="345" y="5225"/>
                  <a:pt x="406" y="5296"/>
                </a:cubicBezTo>
                <a:cubicBezTo>
                  <a:pt x="430" y="5300"/>
                  <a:pt x="451" y="5290"/>
                  <a:pt x="470" y="5265"/>
                </a:cubicBezTo>
                <a:cubicBezTo>
                  <a:pt x="470" y="5264"/>
                  <a:pt x="471" y="5244"/>
                  <a:pt x="471" y="5244"/>
                </a:cubicBezTo>
                <a:cubicBezTo>
                  <a:pt x="468" y="5227"/>
                  <a:pt x="693" y="5374"/>
                  <a:pt x="723" y="5409"/>
                </a:cubicBezTo>
                <a:cubicBezTo>
                  <a:pt x="683" y="5491"/>
                  <a:pt x="819" y="5677"/>
                  <a:pt x="881" y="5677"/>
                </a:cubicBezTo>
                <a:cubicBezTo>
                  <a:pt x="881" y="5776"/>
                  <a:pt x="983" y="5725"/>
                  <a:pt x="1012" y="5801"/>
                </a:cubicBezTo>
                <a:cubicBezTo>
                  <a:pt x="1013" y="5803"/>
                  <a:pt x="840" y="5849"/>
                  <a:pt x="814" y="5864"/>
                </a:cubicBezTo>
                <a:cubicBezTo>
                  <a:pt x="850" y="5933"/>
                  <a:pt x="902" y="6106"/>
                  <a:pt x="948" y="6152"/>
                </a:cubicBezTo>
                <a:cubicBezTo>
                  <a:pt x="1062" y="6265"/>
                  <a:pt x="1164" y="6069"/>
                  <a:pt x="1293" y="6203"/>
                </a:cubicBezTo>
                <a:cubicBezTo>
                  <a:pt x="1286" y="6211"/>
                  <a:pt x="1265" y="6237"/>
                  <a:pt x="1265" y="6237"/>
                </a:cubicBezTo>
                <a:cubicBezTo>
                  <a:pt x="1317" y="6354"/>
                  <a:pt x="1446" y="6350"/>
                  <a:pt x="1481" y="6450"/>
                </a:cubicBezTo>
                <a:cubicBezTo>
                  <a:pt x="1563" y="6681"/>
                  <a:pt x="1653" y="6696"/>
                  <a:pt x="1848" y="6592"/>
                </a:cubicBezTo>
                <a:cubicBezTo>
                  <a:pt x="1905" y="6655"/>
                  <a:pt x="1926" y="6720"/>
                  <a:pt x="2004" y="6723"/>
                </a:cubicBezTo>
                <a:lnTo>
                  <a:pt x="2009" y="6693"/>
                </a:lnTo>
                <a:cubicBezTo>
                  <a:pt x="2095" y="6686"/>
                  <a:pt x="2174" y="6765"/>
                  <a:pt x="2257" y="6780"/>
                </a:cubicBezTo>
                <a:cubicBezTo>
                  <a:pt x="2237" y="6906"/>
                  <a:pt x="2273" y="6983"/>
                  <a:pt x="2267" y="7093"/>
                </a:cubicBezTo>
                <a:cubicBezTo>
                  <a:pt x="2263" y="7128"/>
                  <a:pt x="2226" y="7132"/>
                  <a:pt x="2204" y="7126"/>
                </a:cubicBezTo>
                <a:lnTo>
                  <a:pt x="2204" y="7098"/>
                </a:lnTo>
                <a:cubicBezTo>
                  <a:pt x="2092" y="7098"/>
                  <a:pt x="1997" y="7275"/>
                  <a:pt x="2085" y="7391"/>
                </a:cubicBezTo>
                <a:cubicBezTo>
                  <a:pt x="2053" y="7403"/>
                  <a:pt x="2020" y="7412"/>
                  <a:pt x="1986" y="7420"/>
                </a:cubicBezTo>
                <a:cubicBezTo>
                  <a:pt x="1976" y="7486"/>
                  <a:pt x="2003" y="7524"/>
                  <a:pt x="2047" y="7561"/>
                </a:cubicBezTo>
                <a:cubicBezTo>
                  <a:pt x="2027" y="7581"/>
                  <a:pt x="2018" y="7606"/>
                  <a:pt x="2021" y="7635"/>
                </a:cubicBezTo>
                <a:cubicBezTo>
                  <a:pt x="2021" y="7661"/>
                  <a:pt x="1989" y="7660"/>
                  <a:pt x="1990" y="7711"/>
                </a:cubicBezTo>
                <a:cubicBezTo>
                  <a:pt x="1945" y="7720"/>
                  <a:pt x="1898" y="7715"/>
                  <a:pt x="1853" y="7703"/>
                </a:cubicBezTo>
                <a:cubicBezTo>
                  <a:pt x="1856" y="7754"/>
                  <a:pt x="1852" y="7802"/>
                  <a:pt x="1841" y="7849"/>
                </a:cubicBezTo>
                <a:cubicBezTo>
                  <a:pt x="2028" y="7973"/>
                  <a:pt x="2205" y="8066"/>
                  <a:pt x="2363" y="8238"/>
                </a:cubicBezTo>
                <a:cubicBezTo>
                  <a:pt x="2296" y="8346"/>
                  <a:pt x="2888" y="8477"/>
                  <a:pt x="2736" y="8789"/>
                </a:cubicBezTo>
                <a:cubicBezTo>
                  <a:pt x="2487" y="8980"/>
                  <a:pt x="2231" y="8785"/>
                  <a:pt x="1999" y="8788"/>
                </a:cubicBezTo>
                <a:cubicBezTo>
                  <a:pt x="1930" y="8781"/>
                  <a:pt x="1954" y="8678"/>
                  <a:pt x="1835" y="8708"/>
                </a:cubicBezTo>
                <a:cubicBezTo>
                  <a:pt x="1704" y="8534"/>
                  <a:pt x="1349" y="8634"/>
                  <a:pt x="1224" y="8736"/>
                </a:cubicBezTo>
                <a:cubicBezTo>
                  <a:pt x="1102" y="8835"/>
                  <a:pt x="682" y="8887"/>
                  <a:pt x="661" y="8607"/>
                </a:cubicBezTo>
                <a:cubicBezTo>
                  <a:pt x="631" y="8603"/>
                  <a:pt x="588" y="8600"/>
                  <a:pt x="561" y="8615"/>
                </a:cubicBezTo>
                <a:cubicBezTo>
                  <a:pt x="559" y="8612"/>
                  <a:pt x="535" y="8572"/>
                  <a:pt x="535" y="8572"/>
                </a:cubicBezTo>
                <a:cubicBezTo>
                  <a:pt x="414" y="8571"/>
                  <a:pt x="318" y="8636"/>
                  <a:pt x="375" y="8778"/>
                </a:cubicBezTo>
                <a:cubicBezTo>
                  <a:pt x="343" y="8806"/>
                  <a:pt x="256" y="9007"/>
                  <a:pt x="329" y="9043"/>
                </a:cubicBezTo>
                <a:cubicBezTo>
                  <a:pt x="249" y="9165"/>
                  <a:pt x="305" y="9330"/>
                  <a:pt x="421" y="9335"/>
                </a:cubicBezTo>
                <a:cubicBezTo>
                  <a:pt x="437" y="9593"/>
                  <a:pt x="540" y="10027"/>
                  <a:pt x="785" y="10022"/>
                </a:cubicBezTo>
                <a:cubicBezTo>
                  <a:pt x="850" y="10027"/>
                  <a:pt x="1167" y="10311"/>
                  <a:pt x="1169" y="10017"/>
                </a:cubicBezTo>
                <a:cubicBezTo>
                  <a:pt x="1171" y="9906"/>
                  <a:pt x="1447" y="10181"/>
                  <a:pt x="1452" y="10184"/>
                </a:cubicBezTo>
                <a:cubicBezTo>
                  <a:pt x="1603" y="10274"/>
                  <a:pt x="1696" y="10029"/>
                  <a:pt x="1800" y="10012"/>
                </a:cubicBezTo>
                <a:cubicBezTo>
                  <a:pt x="1854" y="10012"/>
                  <a:pt x="1899" y="10096"/>
                  <a:pt x="1959" y="10058"/>
                </a:cubicBezTo>
                <a:cubicBezTo>
                  <a:pt x="1947" y="10128"/>
                  <a:pt x="1993" y="10195"/>
                  <a:pt x="1984" y="10276"/>
                </a:cubicBezTo>
                <a:cubicBezTo>
                  <a:pt x="1984" y="10276"/>
                  <a:pt x="2022" y="10292"/>
                  <a:pt x="2025" y="10293"/>
                </a:cubicBezTo>
                <a:cubicBezTo>
                  <a:pt x="2030" y="10351"/>
                  <a:pt x="2017" y="10414"/>
                  <a:pt x="2045" y="10467"/>
                </a:cubicBezTo>
                <a:cubicBezTo>
                  <a:pt x="1964" y="10561"/>
                  <a:pt x="1951" y="10674"/>
                  <a:pt x="1927" y="10801"/>
                </a:cubicBezTo>
                <a:cubicBezTo>
                  <a:pt x="1848" y="10835"/>
                  <a:pt x="1834" y="11184"/>
                  <a:pt x="1763" y="11286"/>
                </a:cubicBezTo>
                <a:cubicBezTo>
                  <a:pt x="1769" y="11302"/>
                  <a:pt x="2052" y="12076"/>
                  <a:pt x="1847" y="12076"/>
                </a:cubicBezTo>
                <a:cubicBezTo>
                  <a:pt x="1847" y="12076"/>
                  <a:pt x="1847" y="12076"/>
                  <a:pt x="1847" y="12076"/>
                </a:cubicBezTo>
                <a:lnTo>
                  <a:pt x="1837" y="12090"/>
                </a:lnTo>
                <a:cubicBezTo>
                  <a:pt x="1850" y="12113"/>
                  <a:pt x="1854" y="12139"/>
                  <a:pt x="1849" y="12168"/>
                </a:cubicBezTo>
                <a:lnTo>
                  <a:pt x="1968" y="12175"/>
                </a:lnTo>
                <a:cubicBezTo>
                  <a:pt x="2045" y="12306"/>
                  <a:pt x="2361" y="12799"/>
                  <a:pt x="2334" y="12928"/>
                </a:cubicBezTo>
                <a:cubicBezTo>
                  <a:pt x="2299" y="13089"/>
                  <a:pt x="2510" y="13140"/>
                  <a:pt x="2556" y="13229"/>
                </a:cubicBezTo>
                <a:cubicBezTo>
                  <a:pt x="2628" y="13365"/>
                  <a:pt x="2637" y="13466"/>
                  <a:pt x="2665" y="13606"/>
                </a:cubicBezTo>
                <a:cubicBezTo>
                  <a:pt x="2622" y="13995"/>
                  <a:pt x="2974" y="14177"/>
                  <a:pt x="3079" y="14465"/>
                </a:cubicBezTo>
                <a:cubicBezTo>
                  <a:pt x="3147" y="14644"/>
                  <a:pt x="3352" y="14818"/>
                  <a:pt x="3369" y="15010"/>
                </a:cubicBezTo>
                <a:cubicBezTo>
                  <a:pt x="3389" y="15237"/>
                  <a:pt x="3410" y="15717"/>
                  <a:pt x="3527" y="15914"/>
                </a:cubicBezTo>
                <a:cubicBezTo>
                  <a:pt x="3685" y="16178"/>
                  <a:pt x="3909" y="15819"/>
                  <a:pt x="4050" y="15819"/>
                </a:cubicBezTo>
                <a:cubicBezTo>
                  <a:pt x="4318" y="15819"/>
                  <a:pt x="4521" y="15540"/>
                  <a:pt x="4746" y="15429"/>
                </a:cubicBezTo>
                <a:cubicBezTo>
                  <a:pt x="4904" y="15350"/>
                  <a:pt x="5142" y="15358"/>
                  <a:pt x="5113" y="15092"/>
                </a:cubicBezTo>
                <a:cubicBezTo>
                  <a:pt x="5108" y="15051"/>
                  <a:pt x="5191" y="15049"/>
                  <a:pt x="5224" y="15056"/>
                </a:cubicBezTo>
                <a:cubicBezTo>
                  <a:pt x="5227" y="15026"/>
                  <a:pt x="5232" y="14996"/>
                  <a:pt x="5238" y="14967"/>
                </a:cubicBezTo>
                <a:cubicBezTo>
                  <a:pt x="5244" y="14974"/>
                  <a:pt x="5256" y="14987"/>
                  <a:pt x="5262" y="14995"/>
                </a:cubicBezTo>
                <a:cubicBezTo>
                  <a:pt x="5385" y="14964"/>
                  <a:pt x="5690" y="14881"/>
                  <a:pt x="5666" y="14697"/>
                </a:cubicBezTo>
                <a:cubicBezTo>
                  <a:pt x="5680" y="14778"/>
                  <a:pt x="5943" y="14440"/>
                  <a:pt x="5924" y="14454"/>
                </a:cubicBezTo>
                <a:cubicBezTo>
                  <a:pt x="5959" y="14436"/>
                  <a:pt x="6024" y="14445"/>
                  <a:pt x="6061" y="14446"/>
                </a:cubicBezTo>
                <a:lnTo>
                  <a:pt x="6064" y="14398"/>
                </a:lnTo>
                <a:lnTo>
                  <a:pt x="6088" y="14378"/>
                </a:lnTo>
                <a:cubicBezTo>
                  <a:pt x="6071" y="14281"/>
                  <a:pt x="6052" y="14106"/>
                  <a:pt x="6092" y="14014"/>
                </a:cubicBezTo>
                <a:cubicBezTo>
                  <a:pt x="6217" y="14121"/>
                  <a:pt x="6399" y="13516"/>
                  <a:pt x="6416" y="13402"/>
                </a:cubicBezTo>
                <a:cubicBezTo>
                  <a:pt x="6337" y="13408"/>
                  <a:pt x="6330" y="13381"/>
                  <a:pt x="6268" y="13333"/>
                </a:cubicBezTo>
                <a:cubicBezTo>
                  <a:pt x="6116" y="13110"/>
                  <a:pt x="6087" y="13191"/>
                  <a:pt x="5900" y="13054"/>
                </a:cubicBezTo>
                <a:cubicBezTo>
                  <a:pt x="5695" y="12901"/>
                  <a:pt x="5769" y="12651"/>
                  <a:pt x="5663" y="12468"/>
                </a:cubicBezTo>
                <a:cubicBezTo>
                  <a:pt x="5681" y="12448"/>
                  <a:pt x="5685" y="12420"/>
                  <a:pt x="5677" y="12383"/>
                </a:cubicBezTo>
                <a:cubicBezTo>
                  <a:pt x="5773" y="12362"/>
                  <a:pt x="5783" y="12641"/>
                  <a:pt x="5830" y="12702"/>
                </a:cubicBezTo>
                <a:cubicBezTo>
                  <a:pt x="5907" y="12800"/>
                  <a:pt x="6096" y="12798"/>
                  <a:pt x="6204" y="12813"/>
                </a:cubicBezTo>
                <a:cubicBezTo>
                  <a:pt x="6343" y="12843"/>
                  <a:pt x="6560" y="12984"/>
                  <a:pt x="6684" y="12921"/>
                </a:cubicBezTo>
                <a:cubicBezTo>
                  <a:pt x="6904" y="12809"/>
                  <a:pt x="7142" y="12917"/>
                  <a:pt x="7377" y="12831"/>
                </a:cubicBezTo>
                <a:cubicBezTo>
                  <a:pt x="7381" y="12857"/>
                  <a:pt x="7392" y="12874"/>
                  <a:pt x="7409" y="12884"/>
                </a:cubicBezTo>
                <a:cubicBezTo>
                  <a:pt x="7402" y="12977"/>
                  <a:pt x="7445" y="12999"/>
                  <a:pt x="7507" y="12996"/>
                </a:cubicBezTo>
                <a:cubicBezTo>
                  <a:pt x="7525" y="13107"/>
                  <a:pt x="7595" y="13302"/>
                  <a:pt x="7708" y="13243"/>
                </a:cubicBezTo>
                <a:cubicBezTo>
                  <a:pt x="7799" y="13358"/>
                  <a:pt x="7948" y="13516"/>
                  <a:pt x="8082" y="13456"/>
                </a:cubicBezTo>
                <a:cubicBezTo>
                  <a:pt x="8040" y="13536"/>
                  <a:pt x="7899" y="13395"/>
                  <a:pt x="7863" y="13512"/>
                </a:cubicBezTo>
                <a:cubicBezTo>
                  <a:pt x="7838" y="13591"/>
                  <a:pt x="7985" y="13734"/>
                  <a:pt x="8024" y="13785"/>
                </a:cubicBezTo>
                <a:cubicBezTo>
                  <a:pt x="8174" y="13978"/>
                  <a:pt x="8328" y="14099"/>
                  <a:pt x="8506" y="13859"/>
                </a:cubicBezTo>
                <a:cubicBezTo>
                  <a:pt x="8506" y="13859"/>
                  <a:pt x="8511" y="13822"/>
                  <a:pt x="8511" y="13821"/>
                </a:cubicBezTo>
                <a:cubicBezTo>
                  <a:pt x="8597" y="14372"/>
                  <a:pt x="8658" y="15060"/>
                  <a:pt x="8944" y="15536"/>
                </a:cubicBezTo>
                <a:cubicBezTo>
                  <a:pt x="9051" y="15713"/>
                  <a:pt x="9457" y="17441"/>
                  <a:pt x="9713" y="17105"/>
                </a:cubicBezTo>
                <a:cubicBezTo>
                  <a:pt x="9784" y="17012"/>
                  <a:pt x="9781" y="16935"/>
                  <a:pt x="9870" y="16876"/>
                </a:cubicBezTo>
                <a:cubicBezTo>
                  <a:pt x="9961" y="16816"/>
                  <a:pt x="9845" y="16697"/>
                  <a:pt x="9968" y="16619"/>
                </a:cubicBezTo>
                <a:cubicBezTo>
                  <a:pt x="9997" y="16525"/>
                  <a:pt x="10045" y="16545"/>
                  <a:pt x="10043" y="16402"/>
                </a:cubicBezTo>
                <a:cubicBezTo>
                  <a:pt x="10042" y="16315"/>
                  <a:pt x="9996" y="16229"/>
                  <a:pt x="10027" y="16148"/>
                </a:cubicBezTo>
                <a:cubicBezTo>
                  <a:pt x="10149" y="15836"/>
                  <a:pt x="9994" y="15606"/>
                  <a:pt x="10014" y="15300"/>
                </a:cubicBezTo>
                <a:cubicBezTo>
                  <a:pt x="10017" y="15254"/>
                  <a:pt x="10218" y="15132"/>
                  <a:pt x="10207" y="15132"/>
                </a:cubicBezTo>
                <a:cubicBezTo>
                  <a:pt x="10321" y="15132"/>
                  <a:pt x="10494" y="14748"/>
                  <a:pt x="10602" y="14634"/>
                </a:cubicBezTo>
                <a:cubicBezTo>
                  <a:pt x="10691" y="14538"/>
                  <a:pt x="10737" y="14284"/>
                  <a:pt x="10862" y="14259"/>
                </a:cubicBezTo>
                <a:cubicBezTo>
                  <a:pt x="10992" y="14233"/>
                  <a:pt x="11028" y="14088"/>
                  <a:pt x="11120" y="13995"/>
                </a:cubicBezTo>
                <a:cubicBezTo>
                  <a:pt x="10889" y="13710"/>
                  <a:pt x="11322" y="13817"/>
                  <a:pt x="11401" y="13792"/>
                </a:cubicBezTo>
                <a:lnTo>
                  <a:pt x="11405" y="13809"/>
                </a:lnTo>
                <a:cubicBezTo>
                  <a:pt x="11513" y="13796"/>
                  <a:pt x="11840" y="13734"/>
                  <a:pt x="11758" y="13509"/>
                </a:cubicBezTo>
                <a:cubicBezTo>
                  <a:pt x="11915" y="13567"/>
                  <a:pt x="11804" y="13766"/>
                  <a:pt x="11804" y="13858"/>
                </a:cubicBezTo>
                <a:cubicBezTo>
                  <a:pt x="11855" y="13932"/>
                  <a:pt x="11916" y="14007"/>
                  <a:pt x="11963" y="14088"/>
                </a:cubicBezTo>
                <a:cubicBezTo>
                  <a:pt x="12025" y="14193"/>
                  <a:pt x="12122" y="14206"/>
                  <a:pt x="12170" y="14271"/>
                </a:cubicBezTo>
                <a:cubicBezTo>
                  <a:pt x="12116" y="14362"/>
                  <a:pt x="12121" y="14561"/>
                  <a:pt x="12259" y="14543"/>
                </a:cubicBezTo>
                <a:lnTo>
                  <a:pt x="12265" y="14517"/>
                </a:lnTo>
                <a:cubicBezTo>
                  <a:pt x="12405" y="14547"/>
                  <a:pt x="12309" y="15318"/>
                  <a:pt x="12423" y="15210"/>
                </a:cubicBezTo>
                <a:cubicBezTo>
                  <a:pt x="12494" y="15441"/>
                  <a:pt x="12802" y="15118"/>
                  <a:pt x="12844" y="14997"/>
                </a:cubicBezTo>
                <a:cubicBezTo>
                  <a:pt x="12856" y="15037"/>
                  <a:pt x="12878" y="15060"/>
                  <a:pt x="12911" y="15067"/>
                </a:cubicBezTo>
                <a:cubicBezTo>
                  <a:pt x="12902" y="15223"/>
                  <a:pt x="13012" y="15781"/>
                  <a:pt x="13143" y="15859"/>
                </a:cubicBezTo>
                <a:lnTo>
                  <a:pt x="13144" y="15854"/>
                </a:lnTo>
                <a:cubicBezTo>
                  <a:pt x="13197" y="16052"/>
                  <a:pt x="13142" y="16636"/>
                  <a:pt x="13250" y="16730"/>
                </a:cubicBezTo>
                <a:cubicBezTo>
                  <a:pt x="13233" y="16829"/>
                  <a:pt x="13157" y="17177"/>
                  <a:pt x="13261" y="17253"/>
                </a:cubicBezTo>
                <a:cubicBezTo>
                  <a:pt x="13268" y="17259"/>
                  <a:pt x="13275" y="17264"/>
                  <a:pt x="13282" y="17267"/>
                </a:cubicBezTo>
                <a:cubicBezTo>
                  <a:pt x="13318" y="17267"/>
                  <a:pt x="13328" y="17221"/>
                  <a:pt x="13335" y="17183"/>
                </a:cubicBezTo>
                <a:cubicBezTo>
                  <a:pt x="13489" y="17447"/>
                  <a:pt x="13664" y="17696"/>
                  <a:pt x="13664" y="18046"/>
                </a:cubicBezTo>
                <a:cubicBezTo>
                  <a:pt x="13665" y="18236"/>
                  <a:pt x="13986" y="18792"/>
                  <a:pt x="14143" y="18792"/>
                </a:cubicBezTo>
                <a:lnTo>
                  <a:pt x="14108" y="18792"/>
                </a:lnTo>
                <a:lnTo>
                  <a:pt x="14340" y="18993"/>
                </a:lnTo>
                <a:cubicBezTo>
                  <a:pt x="14381" y="18801"/>
                  <a:pt x="14438" y="18554"/>
                  <a:pt x="14266" y="18407"/>
                </a:cubicBezTo>
                <a:cubicBezTo>
                  <a:pt x="14222" y="18370"/>
                  <a:pt x="14205" y="18151"/>
                  <a:pt x="14227" y="18088"/>
                </a:cubicBezTo>
                <a:cubicBezTo>
                  <a:pt x="14290" y="17896"/>
                  <a:pt x="14071" y="17539"/>
                  <a:pt x="13928" y="17499"/>
                </a:cubicBezTo>
                <a:cubicBezTo>
                  <a:pt x="13881" y="17415"/>
                  <a:pt x="13661" y="17373"/>
                  <a:pt x="13645" y="17259"/>
                </a:cubicBezTo>
                <a:cubicBezTo>
                  <a:pt x="13745" y="17168"/>
                  <a:pt x="13574" y="16889"/>
                  <a:pt x="13559" y="16792"/>
                </a:cubicBezTo>
                <a:cubicBezTo>
                  <a:pt x="13529" y="16788"/>
                  <a:pt x="13501" y="16791"/>
                  <a:pt x="13472" y="16803"/>
                </a:cubicBezTo>
                <a:cubicBezTo>
                  <a:pt x="13429" y="16495"/>
                  <a:pt x="13632" y="16145"/>
                  <a:pt x="13549" y="15846"/>
                </a:cubicBezTo>
                <a:cubicBezTo>
                  <a:pt x="13573" y="15845"/>
                  <a:pt x="13595" y="15843"/>
                  <a:pt x="13619" y="15840"/>
                </a:cubicBezTo>
                <a:cubicBezTo>
                  <a:pt x="13609" y="16099"/>
                  <a:pt x="13684" y="15951"/>
                  <a:pt x="13779" y="16047"/>
                </a:cubicBezTo>
                <a:cubicBezTo>
                  <a:pt x="13864" y="16023"/>
                  <a:pt x="13870" y="16267"/>
                  <a:pt x="13976" y="16189"/>
                </a:cubicBezTo>
                <a:cubicBezTo>
                  <a:pt x="14020" y="16272"/>
                  <a:pt x="14042" y="16563"/>
                  <a:pt x="14148" y="16421"/>
                </a:cubicBezTo>
                <a:cubicBezTo>
                  <a:pt x="14160" y="16430"/>
                  <a:pt x="14169" y="16479"/>
                  <a:pt x="14172" y="16497"/>
                </a:cubicBezTo>
                <a:cubicBezTo>
                  <a:pt x="14248" y="16535"/>
                  <a:pt x="14324" y="16665"/>
                  <a:pt x="14393" y="16675"/>
                </a:cubicBezTo>
                <a:cubicBezTo>
                  <a:pt x="14349" y="16802"/>
                  <a:pt x="14378" y="16936"/>
                  <a:pt x="14328" y="17065"/>
                </a:cubicBezTo>
                <a:cubicBezTo>
                  <a:pt x="14423" y="17103"/>
                  <a:pt x="14649" y="16942"/>
                  <a:pt x="14681" y="16817"/>
                </a:cubicBezTo>
                <a:cubicBezTo>
                  <a:pt x="14747" y="16823"/>
                  <a:pt x="14771" y="16679"/>
                  <a:pt x="14777" y="16616"/>
                </a:cubicBezTo>
                <a:lnTo>
                  <a:pt x="14795" y="16636"/>
                </a:lnTo>
                <a:cubicBezTo>
                  <a:pt x="14920" y="16540"/>
                  <a:pt x="15138" y="16456"/>
                  <a:pt x="15162" y="16247"/>
                </a:cubicBezTo>
                <a:cubicBezTo>
                  <a:pt x="15186" y="16037"/>
                  <a:pt x="15149" y="15872"/>
                  <a:pt x="15136" y="15668"/>
                </a:cubicBezTo>
                <a:cubicBezTo>
                  <a:pt x="15108" y="15228"/>
                  <a:pt x="14762" y="15014"/>
                  <a:pt x="14564" y="14711"/>
                </a:cubicBezTo>
                <a:cubicBezTo>
                  <a:pt x="14528" y="14587"/>
                  <a:pt x="14270" y="14343"/>
                  <a:pt x="14428" y="14189"/>
                </a:cubicBezTo>
                <a:cubicBezTo>
                  <a:pt x="14501" y="14117"/>
                  <a:pt x="14517" y="14012"/>
                  <a:pt x="14591" y="13938"/>
                </a:cubicBezTo>
                <a:cubicBezTo>
                  <a:pt x="14638" y="13892"/>
                  <a:pt x="14715" y="13816"/>
                  <a:pt x="14743" y="13760"/>
                </a:cubicBezTo>
                <a:cubicBezTo>
                  <a:pt x="14780" y="13785"/>
                  <a:pt x="14880" y="13924"/>
                  <a:pt x="14917" y="13797"/>
                </a:cubicBezTo>
                <a:cubicBezTo>
                  <a:pt x="14919" y="13798"/>
                  <a:pt x="14921" y="13800"/>
                  <a:pt x="14924" y="13802"/>
                </a:cubicBezTo>
                <a:cubicBezTo>
                  <a:pt x="14874" y="13903"/>
                  <a:pt x="14944" y="14050"/>
                  <a:pt x="15003" y="14121"/>
                </a:cubicBezTo>
                <a:cubicBezTo>
                  <a:pt x="14696" y="14139"/>
                  <a:pt x="14934" y="14721"/>
                  <a:pt x="15063" y="14532"/>
                </a:cubicBezTo>
                <a:cubicBezTo>
                  <a:pt x="15168" y="14522"/>
                  <a:pt x="15172" y="14273"/>
                  <a:pt x="15207" y="14188"/>
                </a:cubicBezTo>
                <a:cubicBezTo>
                  <a:pt x="15207" y="14093"/>
                  <a:pt x="15157" y="14104"/>
                  <a:pt x="15102" y="14115"/>
                </a:cubicBezTo>
                <a:cubicBezTo>
                  <a:pt x="15199" y="14030"/>
                  <a:pt x="15118" y="14016"/>
                  <a:pt x="15104" y="13913"/>
                </a:cubicBezTo>
                <a:cubicBezTo>
                  <a:pt x="15092" y="13820"/>
                  <a:pt x="15241" y="13850"/>
                  <a:pt x="15282" y="13822"/>
                </a:cubicBezTo>
                <a:cubicBezTo>
                  <a:pt x="15359" y="13767"/>
                  <a:pt x="15439" y="13745"/>
                  <a:pt x="15523" y="13688"/>
                </a:cubicBezTo>
                <a:cubicBezTo>
                  <a:pt x="15526" y="13681"/>
                  <a:pt x="15528" y="13675"/>
                  <a:pt x="15529" y="13668"/>
                </a:cubicBezTo>
                <a:cubicBezTo>
                  <a:pt x="15564" y="13634"/>
                  <a:pt x="15623" y="13651"/>
                  <a:pt x="15631" y="13574"/>
                </a:cubicBezTo>
                <a:cubicBezTo>
                  <a:pt x="15690" y="13627"/>
                  <a:pt x="16074" y="13471"/>
                  <a:pt x="16095" y="13390"/>
                </a:cubicBezTo>
                <a:cubicBezTo>
                  <a:pt x="16114" y="13308"/>
                  <a:pt x="16263" y="13203"/>
                  <a:pt x="16314" y="13153"/>
                </a:cubicBezTo>
                <a:cubicBezTo>
                  <a:pt x="16369" y="13097"/>
                  <a:pt x="16451" y="12820"/>
                  <a:pt x="16493" y="12794"/>
                </a:cubicBezTo>
                <a:lnTo>
                  <a:pt x="16510" y="12781"/>
                </a:lnTo>
                <a:cubicBezTo>
                  <a:pt x="16523" y="12573"/>
                  <a:pt x="16584" y="12331"/>
                  <a:pt x="16643" y="12135"/>
                </a:cubicBezTo>
                <a:cubicBezTo>
                  <a:pt x="16777" y="12226"/>
                  <a:pt x="16741" y="11976"/>
                  <a:pt x="16718" y="11897"/>
                </a:cubicBezTo>
                <a:lnTo>
                  <a:pt x="16759" y="11906"/>
                </a:lnTo>
                <a:cubicBezTo>
                  <a:pt x="16726" y="11747"/>
                  <a:pt x="16728" y="11491"/>
                  <a:pt x="16531" y="11506"/>
                </a:cubicBezTo>
                <a:cubicBezTo>
                  <a:pt x="16589" y="11423"/>
                  <a:pt x="16734" y="11436"/>
                  <a:pt x="16572" y="11272"/>
                </a:cubicBezTo>
                <a:lnTo>
                  <a:pt x="16584" y="11278"/>
                </a:lnTo>
                <a:cubicBezTo>
                  <a:pt x="16598" y="11049"/>
                  <a:pt x="16383" y="11061"/>
                  <a:pt x="16346" y="10916"/>
                </a:cubicBezTo>
                <a:cubicBezTo>
                  <a:pt x="16216" y="10747"/>
                  <a:pt x="16131" y="10449"/>
                  <a:pt x="15922" y="10393"/>
                </a:cubicBezTo>
                <a:cubicBezTo>
                  <a:pt x="15951" y="10281"/>
                  <a:pt x="15996" y="10050"/>
                  <a:pt x="16094" y="10009"/>
                </a:cubicBezTo>
                <a:cubicBezTo>
                  <a:pt x="16162" y="9981"/>
                  <a:pt x="16172" y="9976"/>
                  <a:pt x="16241" y="9976"/>
                </a:cubicBezTo>
                <a:cubicBezTo>
                  <a:pt x="16389" y="9976"/>
                  <a:pt x="16257" y="9717"/>
                  <a:pt x="16138" y="9717"/>
                </a:cubicBezTo>
                <a:cubicBezTo>
                  <a:pt x="16041" y="9717"/>
                  <a:pt x="15947" y="9596"/>
                  <a:pt x="15855" y="9645"/>
                </a:cubicBezTo>
                <a:cubicBezTo>
                  <a:pt x="15815" y="9666"/>
                  <a:pt x="15657" y="9959"/>
                  <a:pt x="15665" y="9700"/>
                </a:cubicBezTo>
                <a:cubicBezTo>
                  <a:pt x="15671" y="9442"/>
                  <a:pt x="15348" y="9696"/>
                  <a:pt x="15343" y="9394"/>
                </a:cubicBezTo>
                <a:cubicBezTo>
                  <a:pt x="15385" y="9432"/>
                  <a:pt x="15449" y="9421"/>
                  <a:pt x="15498" y="9408"/>
                </a:cubicBezTo>
                <a:cubicBezTo>
                  <a:pt x="15515" y="9403"/>
                  <a:pt x="15696" y="9022"/>
                  <a:pt x="15716" y="8978"/>
                </a:cubicBezTo>
                <a:cubicBezTo>
                  <a:pt x="15802" y="8780"/>
                  <a:pt x="15869" y="9340"/>
                  <a:pt x="15873" y="9343"/>
                </a:cubicBezTo>
                <a:cubicBezTo>
                  <a:pt x="15724" y="9412"/>
                  <a:pt x="15962" y="9649"/>
                  <a:pt x="16042" y="9398"/>
                </a:cubicBezTo>
                <a:cubicBezTo>
                  <a:pt x="16080" y="9281"/>
                  <a:pt x="16134" y="9226"/>
                  <a:pt x="16255" y="9232"/>
                </a:cubicBezTo>
                <a:cubicBezTo>
                  <a:pt x="16563" y="9232"/>
                  <a:pt x="16381" y="9707"/>
                  <a:pt x="16600" y="9725"/>
                </a:cubicBezTo>
                <a:cubicBezTo>
                  <a:pt x="16602" y="9756"/>
                  <a:pt x="16619" y="9789"/>
                  <a:pt x="16637" y="9811"/>
                </a:cubicBezTo>
                <a:cubicBezTo>
                  <a:pt x="16663" y="9798"/>
                  <a:pt x="16698" y="9771"/>
                  <a:pt x="16709" y="9740"/>
                </a:cubicBezTo>
                <a:cubicBezTo>
                  <a:pt x="16725" y="9749"/>
                  <a:pt x="16741" y="9758"/>
                  <a:pt x="16757" y="9767"/>
                </a:cubicBezTo>
                <a:cubicBezTo>
                  <a:pt x="16769" y="9767"/>
                  <a:pt x="16778" y="9762"/>
                  <a:pt x="16785" y="9756"/>
                </a:cubicBezTo>
                <a:cubicBezTo>
                  <a:pt x="16797" y="9780"/>
                  <a:pt x="16820" y="9802"/>
                  <a:pt x="16840" y="9817"/>
                </a:cubicBezTo>
                <a:cubicBezTo>
                  <a:pt x="16852" y="9804"/>
                  <a:pt x="16864" y="9788"/>
                  <a:pt x="16873" y="9771"/>
                </a:cubicBezTo>
                <a:cubicBezTo>
                  <a:pt x="16891" y="9805"/>
                  <a:pt x="16902" y="9828"/>
                  <a:pt x="16908" y="9843"/>
                </a:cubicBezTo>
                <a:cubicBezTo>
                  <a:pt x="16847" y="9895"/>
                  <a:pt x="17004" y="10307"/>
                  <a:pt x="17021" y="10410"/>
                </a:cubicBezTo>
                <a:cubicBezTo>
                  <a:pt x="17070" y="10691"/>
                  <a:pt x="17304" y="10518"/>
                  <a:pt x="17449" y="10518"/>
                </a:cubicBezTo>
                <a:cubicBezTo>
                  <a:pt x="17808" y="10215"/>
                  <a:pt x="17261" y="9613"/>
                  <a:pt x="17080" y="9402"/>
                </a:cubicBezTo>
                <a:lnTo>
                  <a:pt x="17048" y="9438"/>
                </a:lnTo>
                <a:cubicBezTo>
                  <a:pt x="16837" y="9231"/>
                  <a:pt x="16887" y="9348"/>
                  <a:pt x="17005" y="9091"/>
                </a:cubicBezTo>
                <a:cubicBezTo>
                  <a:pt x="17099" y="8895"/>
                  <a:pt x="16986" y="8839"/>
                  <a:pt x="17044" y="8633"/>
                </a:cubicBezTo>
                <a:cubicBezTo>
                  <a:pt x="17065" y="8626"/>
                  <a:pt x="17115" y="8634"/>
                  <a:pt x="17137" y="8636"/>
                </a:cubicBezTo>
                <a:cubicBezTo>
                  <a:pt x="17110" y="8586"/>
                  <a:pt x="17077" y="8532"/>
                  <a:pt x="17040" y="8493"/>
                </a:cubicBezTo>
                <a:cubicBezTo>
                  <a:pt x="17041" y="8492"/>
                  <a:pt x="17041" y="8490"/>
                  <a:pt x="17042" y="8488"/>
                </a:cubicBezTo>
                <a:cubicBezTo>
                  <a:pt x="17064" y="8487"/>
                  <a:pt x="17086" y="8479"/>
                  <a:pt x="17106" y="8468"/>
                </a:cubicBezTo>
                <a:cubicBezTo>
                  <a:pt x="17136" y="8432"/>
                  <a:pt x="17150" y="8393"/>
                  <a:pt x="17159" y="8342"/>
                </a:cubicBezTo>
                <a:cubicBezTo>
                  <a:pt x="17315" y="8418"/>
                  <a:pt x="17705" y="8619"/>
                  <a:pt x="17671" y="8117"/>
                </a:cubicBezTo>
                <a:cubicBezTo>
                  <a:pt x="17658" y="7925"/>
                  <a:pt x="17808" y="7735"/>
                  <a:pt x="17792" y="7535"/>
                </a:cubicBezTo>
                <a:cubicBezTo>
                  <a:pt x="17781" y="7389"/>
                  <a:pt x="17861" y="7091"/>
                  <a:pt x="17823" y="6968"/>
                </a:cubicBezTo>
                <a:cubicBezTo>
                  <a:pt x="17754" y="6743"/>
                  <a:pt x="17595" y="6575"/>
                  <a:pt x="17533" y="6354"/>
                </a:cubicBezTo>
                <a:cubicBezTo>
                  <a:pt x="17482" y="6176"/>
                  <a:pt x="17477" y="6076"/>
                  <a:pt x="17371" y="5930"/>
                </a:cubicBezTo>
                <a:cubicBezTo>
                  <a:pt x="17206" y="5696"/>
                  <a:pt x="16964" y="5566"/>
                  <a:pt x="16701" y="5550"/>
                </a:cubicBezTo>
                <a:lnTo>
                  <a:pt x="16702" y="5599"/>
                </a:lnTo>
                <a:lnTo>
                  <a:pt x="16682" y="5620"/>
                </a:lnTo>
                <a:cubicBezTo>
                  <a:pt x="16715" y="5661"/>
                  <a:pt x="16696" y="5689"/>
                  <a:pt x="16705" y="5735"/>
                </a:cubicBezTo>
                <a:cubicBezTo>
                  <a:pt x="16705" y="5735"/>
                  <a:pt x="16701" y="5738"/>
                  <a:pt x="16686" y="5738"/>
                </a:cubicBezTo>
                <a:cubicBezTo>
                  <a:pt x="16699" y="5604"/>
                  <a:pt x="16597" y="5649"/>
                  <a:pt x="16543" y="5672"/>
                </a:cubicBezTo>
                <a:cubicBezTo>
                  <a:pt x="16464" y="5655"/>
                  <a:pt x="16474" y="5478"/>
                  <a:pt x="16362" y="5478"/>
                </a:cubicBezTo>
                <a:cubicBezTo>
                  <a:pt x="16292" y="5478"/>
                  <a:pt x="16248" y="5504"/>
                  <a:pt x="16175" y="5453"/>
                </a:cubicBezTo>
                <a:cubicBezTo>
                  <a:pt x="16188" y="5307"/>
                  <a:pt x="16331" y="5234"/>
                  <a:pt x="16320" y="5059"/>
                </a:cubicBezTo>
                <a:cubicBezTo>
                  <a:pt x="16316" y="4984"/>
                  <a:pt x="16399" y="4871"/>
                  <a:pt x="16438" y="4830"/>
                </a:cubicBezTo>
                <a:cubicBezTo>
                  <a:pt x="16438" y="4780"/>
                  <a:pt x="16419" y="4738"/>
                  <a:pt x="16403" y="4694"/>
                </a:cubicBezTo>
                <a:cubicBezTo>
                  <a:pt x="16485" y="4410"/>
                  <a:pt x="16622" y="4513"/>
                  <a:pt x="16822" y="4502"/>
                </a:cubicBezTo>
                <a:cubicBezTo>
                  <a:pt x="17017" y="4491"/>
                  <a:pt x="17229" y="4512"/>
                  <a:pt x="17432" y="4486"/>
                </a:cubicBezTo>
                <a:cubicBezTo>
                  <a:pt x="17432" y="4486"/>
                  <a:pt x="17380" y="4399"/>
                  <a:pt x="17380" y="4399"/>
                </a:cubicBezTo>
                <a:cubicBezTo>
                  <a:pt x="17472" y="4395"/>
                  <a:pt x="17591" y="4417"/>
                  <a:pt x="17675" y="4457"/>
                </a:cubicBezTo>
                <a:lnTo>
                  <a:pt x="17587" y="4479"/>
                </a:lnTo>
                <a:cubicBezTo>
                  <a:pt x="17820" y="4694"/>
                  <a:pt x="18012" y="4482"/>
                  <a:pt x="18255" y="4567"/>
                </a:cubicBezTo>
                <a:lnTo>
                  <a:pt x="18310" y="4498"/>
                </a:lnTo>
                <a:cubicBezTo>
                  <a:pt x="18234" y="4374"/>
                  <a:pt x="18125" y="4427"/>
                  <a:pt x="18045" y="4339"/>
                </a:cubicBezTo>
                <a:cubicBezTo>
                  <a:pt x="18017" y="4297"/>
                  <a:pt x="18066" y="4003"/>
                  <a:pt x="18073" y="3947"/>
                </a:cubicBezTo>
                <a:cubicBezTo>
                  <a:pt x="18187" y="3913"/>
                  <a:pt x="18309" y="3913"/>
                  <a:pt x="18421" y="3949"/>
                </a:cubicBezTo>
                <a:cubicBezTo>
                  <a:pt x="18458" y="3949"/>
                  <a:pt x="18515" y="4111"/>
                  <a:pt x="18527" y="4157"/>
                </a:cubicBezTo>
                <a:cubicBezTo>
                  <a:pt x="18550" y="4152"/>
                  <a:pt x="18576" y="4143"/>
                  <a:pt x="18595" y="4129"/>
                </a:cubicBezTo>
                <a:cubicBezTo>
                  <a:pt x="18617" y="4170"/>
                  <a:pt x="18639" y="4210"/>
                  <a:pt x="18664" y="4248"/>
                </a:cubicBezTo>
                <a:cubicBezTo>
                  <a:pt x="18693" y="4222"/>
                  <a:pt x="18725" y="4201"/>
                  <a:pt x="18757" y="4186"/>
                </a:cubicBezTo>
                <a:cubicBezTo>
                  <a:pt x="18758" y="4038"/>
                  <a:pt x="18825" y="3956"/>
                  <a:pt x="18932" y="4040"/>
                </a:cubicBezTo>
                <a:cubicBezTo>
                  <a:pt x="18932" y="4003"/>
                  <a:pt x="18933" y="3962"/>
                  <a:pt x="18927" y="3925"/>
                </a:cubicBezTo>
                <a:cubicBezTo>
                  <a:pt x="18949" y="3962"/>
                  <a:pt x="18974" y="4040"/>
                  <a:pt x="19016" y="4044"/>
                </a:cubicBezTo>
                <a:cubicBezTo>
                  <a:pt x="19020" y="4065"/>
                  <a:pt x="19027" y="4085"/>
                  <a:pt x="19036" y="4104"/>
                </a:cubicBezTo>
                <a:cubicBezTo>
                  <a:pt x="18991" y="4134"/>
                  <a:pt x="18948" y="4163"/>
                  <a:pt x="18913" y="4209"/>
                </a:cubicBezTo>
                <a:lnTo>
                  <a:pt x="18933" y="4227"/>
                </a:lnTo>
                <a:lnTo>
                  <a:pt x="18922" y="4242"/>
                </a:lnTo>
                <a:cubicBezTo>
                  <a:pt x="18933" y="4251"/>
                  <a:pt x="18941" y="4262"/>
                  <a:pt x="18947" y="4276"/>
                </a:cubicBezTo>
                <a:cubicBezTo>
                  <a:pt x="18922" y="4461"/>
                  <a:pt x="18945" y="4782"/>
                  <a:pt x="18746" y="4754"/>
                </a:cubicBezTo>
                <a:cubicBezTo>
                  <a:pt x="18747" y="4788"/>
                  <a:pt x="18744" y="4821"/>
                  <a:pt x="18739" y="4854"/>
                </a:cubicBezTo>
                <a:cubicBezTo>
                  <a:pt x="18836" y="5008"/>
                  <a:pt x="18864" y="5224"/>
                  <a:pt x="18983" y="5396"/>
                </a:cubicBezTo>
                <a:cubicBezTo>
                  <a:pt x="19126" y="5602"/>
                  <a:pt x="19308" y="5753"/>
                  <a:pt x="19457" y="5949"/>
                </a:cubicBezTo>
                <a:cubicBezTo>
                  <a:pt x="19532" y="6048"/>
                  <a:pt x="19836" y="6469"/>
                  <a:pt x="19960" y="6469"/>
                </a:cubicBezTo>
                <a:cubicBezTo>
                  <a:pt x="20212" y="6469"/>
                  <a:pt x="19956" y="6018"/>
                  <a:pt x="19950" y="5979"/>
                </a:cubicBezTo>
                <a:cubicBezTo>
                  <a:pt x="19977" y="5936"/>
                  <a:pt x="20168" y="5982"/>
                  <a:pt x="20211" y="5985"/>
                </a:cubicBezTo>
                <a:cubicBezTo>
                  <a:pt x="20174" y="5942"/>
                  <a:pt x="19926" y="5707"/>
                  <a:pt x="19968" y="5649"/>
                </a:cubicBezTo>
                <a:cubicBezTo>
                  <a:pt x="19982" y="5630"/>
                  <a:pt x="20101" y="5654"/>
                  <a:pt x="20126" y="5664"/>
                </a:cubicBezTo>
                <a:cubicBezTo>
                  <a:pt x="20192" y="5412"/>
                  <a:pt x="19863" y="5420"/>
                  <a:pt x="19903" y="5247"/>
                </a:cubicBezTo>
                <a:cubicBezTo>
                  <a:pt x="19934" y="5260"/>
                  <a:pt x="19968" y="5294"/>
                  <a:pt x="19997" y="5315"/>
                </a:cubicBezTo>
                <a:cubicBezTo>
                  <a:pt x="20147" y="5117"/>
                  <a:pt x="19645" y="4785"/>
                  <a:pt x="19523" y="4756"/>
                </a:cubicBezTo>
                <a:cubicBezTo>
                  <a:pt x="19467" y="4748"/>
                  <a:pt x="19432" y="4643"/>
                  <a:pt x="19443" y="4586"/>
                </a:cubicBezTo>
                <a:cubicBezTo>
                  <a:pt x="19470" y="4445"/>
                  <a:pt x="19324" y="4420"/>
                  <a:pt x="19334" y="4366"/>
                </a:cubicBezTo>
                <a:cubicBezTo>
                  <a:pt x="19351" y="4272"/>
                  <a:pt x="19470" y="4429"/>
                  <a:pt x="19504" y="4429"/>
                </a:cubicBezTo>
                <a:cubicBezTo>
                  <a:pt x="19583" y="4429"/>
                  <a:pt x="19522" y="4292"/>
                  <a:pt x="19560" y="4279"/>
                </a:cubicBezTo>
                <a:cubicBezTo>
                  <a:pt x="19779" y="4468"/>
                  <a:pt x="19644" y="4227"/>
                  <a:pt x="19830" y="4227"/>
                </a:cubicBezTo>
                <a:cubicBezTo>
                  <a:pt x="19974" y="4180"/>
                  <a:pt x="20153" y="4358"/>
                  <a:pt x="20275" y="4424"/>
                </a:cubicBezTo>
                <a:cubicBezTo>
                  <a:pt x="20286" y="4362"/>
                  <a:pt x="20280" y="4286"/>
                  <a:pt x="20244" y="4238"/>
                </a:cubicBezTo>
                <a:cubicBezTo>
                  <a:pt x="20487" y="4009"/>
                  <a:pt x="20524" y="3674"/>
                  <a:pt x="20914" y="3862"/>
                </a:cubicBezTo>
                <a:cubicBezTo>
                  <a:pt x="20928" y="3840"/>
                  <a:pt x="20946" y="3835"/>
                  <a:pt x="20968" y="3843"/>
                </a:cubicBezTo>
                <a:cubicBezTo>
                  <a:pt x="20980" y="3602"/>
                  <a:pt x="20494" y="3359"/>
                  <a:pt x="20326" y="3322"/>
                </a:cubicBezTo>
                <a:cubicBezTo>
                  <a:pt x="20400" y="3299"/>
                  <a:pt x="20509" y="3221"/>
                  <a:pt x="20442" y="3106"/>
                </a:cubicBezTo>
                <a:cubicBezTo>
                  <a:pt x="20615" y="3209"/>
                  <a:pt x="20796" y="3130"/>
                  <a:pt x="20975" y="3259"/>
                </a:cubicBezTo>
                <a:cubicBezTo>
                  <a:pt x="21043" y="3307"/>
                  <a:pt x="21600" y="3507"/>
                  <a:pt x="21591" y="3334"/>
                </a:cubicBezTo>
                <a:cubicBezTo>
                  <a:pt x="21518" y="3261"/>
                  <a:pt x="21537" y="3195"/>
                  <a:pt x="21482" y="3136"/>
                </a:cubicBezTo>
                <a:close/>
                <a:moveTo>
                  <a:pt x="16994" y="18909"/>
                </a:moveTo>
                <a:cubicBezTo>
                  <a:pt x="16992" y="18916"/>
                  <a:pt x="16986" y="18936"/>
                  <a:pt x="16994" y="18908"/>
                </a:cubicBezTo>
                <a:cubicBezTo>
                  <a:pt x="16995" y="18905"/>
                  <a:pt x="16995" y="18906"/>
                  <a:pt x="16994" y="18908"/>
                </a:cubicBezTo>
                <a:cubicBezTo>
                  <a:pt x="17025" y="18802"/>
                  <a:pt x="16849" y="18703"/>
                  <a:pt x="16797" y="18645"/>
                </a:cubicBezTo>
                <a:cubicBezTo>
                  <a:pt x="16910" y="18509"/>
                  <a:pt x="16724" y="18432"/>
                  <a:pt x="16738" y="18304"/>
                </a:cubicBezTo>
                <a:lnTo>
                  <a:pt x="16754" y="18340"/>
                </a:lnTo>
                <a:lnTo>
                  <a:pt x="16768" y="18257"/>
                </a:lnTo>
                <a:lnTo>
                  <a:pt x="16776" y="18259"/>
                </a:lnTo>
                <a:cubicBezTo>
                  <a:pt x="16763" y="18110"/>
                  <a:pt x="16888" y="18117"/>
                  <a:pt x="16947" y="18016"/>
                </a:cubicBezTo>
                <a:cubicBezTo>
                  <a:pt x="16932" y="18006"/>
                  <a:pt x="16894" y="17954"/>
                  <a:pt x="16878" y="17954"/>
                </a:cubicBezTo>
                <a:cubicBezTo>
                  <a:pt x="17187" y="17954"/>
                  <a:pt x="16910" y="17614"/>
                  <a:pt x="16748" y="17594"/>
                </a:cubicBezTo>
                <a:cubicBezTo>
                  <a:pt x="16760" y="17529"/>
                  <a:pt x="16681" y="17426"/>
                  <a:pt x="16659" y="17362"/>
                </a:cubicBezTo>
                <a:cubicBezTo>
                  <a:pt x="16473" y="17255"/>
                  <a:pt x="16458" y="17581"/>
                  <a:pt x="16392" y="17697"/>
                </a:cubicBezTo>
                <a:lnTo>
                  <a:pt x="16408" y="17712"/>
                </a:lnTo>
                <a:cubicBezTo>
                  <a:pt x="16350" y="17704"/>
                  <a:pt x="16222" y="17768"/>
                  <a:pt x="16295" y="17866"/>
                </a:cubicBezTo>
                <a:cubicBezTo>
                  <a:pt x="16216" y="17940"/>
                  <a:pt x="16061" y="17932"/>
                  <a:pt x="16023" y="18049"/>
                </a:cubicBezTo>
                <a:cubicBezTo>
                  <a:pt x="15957" y="18251"/>
                  <a:pt x="15876" y="18304"/>
                  <a:pt x="15732" y="18363"/>
                </a:cubicBezTo>
                <a:cubicBezTo>
                  <a:pt x="15609" y="18415"/>
                  <a:pt x="15571" y="18696"/>
                  <a:pt x="15535" y="18708"/>
                </a:cubicBezTo>
                <a:cubicBezTo>
                  <a:pt x="15508" y="18708"/>
                  <a:pt x="15366" y="18659"/>
                  <a:pt x="15367" y="18626"/>
                </a:cubicBezTo>
                <a:lnTo>
                  <a:pt x="15369" y="18534"/>
                </a:lnTo>
                <a:lnTo>
                  <a:pt x="15311" y="18575"/>
                </a:lnTo>
                <a:lnTo>
                  <a:pt x="15306" y="18562"/>
                </a:lnTo>
                <a:cubicBezTo>
                  <a:pt x="15117" y="18677"/>
                  <a:pt x="15108" y="18934"/>
                  <a:pt x="15200" y="19136"/>
                </a:cubicBezTo>
                <a:cubicBezTo>
                  <a:pt x="15161" y="19181"/>
                  <a:pt x="15164" y="19258"/>
                  <a:pt x="15203" y="19303"/>
                </a:cubicBezTo>
                <a:cubicBezTo>
                  <a:pt x="15195" y="19335"/>
                  <a:pt x="15210" y="19374"/>
                  <a:pt x="15235" y="19385"/>
                </a:cubicBezTo>
                <a:cubicBezTo>
                  <a:pt x="15225" y="19424"/>
                  <a:pt x="15232" y="19455"/>
                  <a:pt x="15254" y="19479"/>
                </a:cubicBezTo>
                <a:cubicBezTo>
                  <a:pt x="15285" y="19481"/>
                  <a:pt x="15311" y="19464"/>
                  <a:pt x="15340" y="19452"/>
                </a:cubicBezTo>
                <a:cubicBezTo>
                  <a:pt x="15350" y="19468"/>
                  <a:pt x="15353" y="19488"/>
                  <a:pt x="15347" y="19511"/>
                </a:cubicBezTo>
                <a:cubicBezTo>
                  <a:pt x="15325" y="19540"/>
                  <a:pt x="15350" y="19890"/>
                  <a:pt x="15399" y="19920"/>
                </a:cubicBezTo>
                <a:cubicBezTo>
                  <a:pt x="15473" y="19966"/>
                  <a:pt x="15568" y="19928"/>
                  <a:pt x="15643" y="19918"/>
                </a:cubicBezTo>
                <a:cubicBezTo>
                  <a:pt x="15630" y="20115"/>
                  <a:pt x="15842" y="20079"/>
                  <a:pt x="15913" y="19951"/>
                </a:cubicBezTo>
                <a:cubicBezTo>
                  <a:pt x="15943" y="20003"/>
                  <a:pt x="16038" y="20088"/>
                  <a:pt x="16085" y="20029"/>
                </a:cubicBezTo>
                <a:cubicBezTo>
                  <a:pt x="16181" y="20173"/>
                  <a:pt x="16201" y="20238"/>
                  <a:pt x="16389" y="20115"/>
                </a:cubicBezTo>
                <a:cubicBezTo>
                  <a:pt x="16410" y="20270"/>
                  <a:pt x="16541" y="20049"/>
                  <a:pt x="16499" y="19901"/>
                </a:cubicBezTo>
                <a:cubicBezTo>
                  <a:pt x="16526" y="19881"/>
                  <a:pt x="16539" y="19851"/>
                  <a:pt x="16538" y="19809"/>
                </a:cubicBezTo>
                <a:lnTo>
                  <a:pt x="16562" y="19798"/>
                </a:lnTo>
                <a:cubicBezTo>
                  <a:pt x="16568" y="19733"/>
                  <a:pt x="16573" y="19601"/>
                  <a:pt x="16540" y="19554"/>
                </a:cubicBezTo>
                <a:cubicBezTo>
                  <a:pt x="16562" y="19523"/>
                  <a:pt x="16574" y="19505"/>
                  <a:pt x="16597" y="19520"/>
                </a:cubicBezTo>
                <a:cubicBezTo>
                  <a:pt x="16644" y="19442"/>
                  <a:pt x="16806" y="19309"/>
                  <a:pt x="16741" y="19205"/>
                </a:cubicBezTo>
                <a:cubicBezTo>
                  <a:pt x="16704" y="19144"/>
                  <a:pt x="16767" y="18984"/>
                  <a:pt x="16806" y="18955"/>
                </a:cubicBezTo>
                <a:cubicBezTo>
                  <a:pt x="16858" y="18955"/>
                  <a:pt x="16966" y="19000"/>
                  <a:pt x="16994" y="18909"/>
                </a:cubicBezTo>
                <a:close/>
                <a:moveTo>
                  <a:pt x="17082" y="15769"/>
                </a:moveTo>
                <a:cubicBezTo>
                  <a:pt x="17065" y="15769"/>
                  <a:pt x="17051" y="15769"/>
                  <a:pt x="17082" y="15769"/>
                </a:cubicBezTo>
                <a:cubicBezTo>
                  <a:pt x="17137" y="15769"/>
                  <a:pt x="17106" y="15769"/>
                  <a:pt x="17083" y="15769"/>
                </a:cubicBezTo>
                <a:cubicBezTo>
                  <a:pt x="17275" y="15768"/>
                  <a:pt x="17243" y="16089"/>
                  <a:pt x="17193" y="16059"/>
                </a:cubicBezTo>
                <a:cubicBezTo>
                  <a:pt x="17151" y="16034"/>
                  <a:pt x="17029" y="15770"/>
                  <a:pt x="17082" y="15769"/>
                </a:cubicBezTo>
                <a:close/>
              </a:path>
            </a:pathLst>
          </a:custGeom>
          <a:solidFill>
            <a:schemeClr val="tx1">
              <a:lumMod val="20000"/>
              <a:lumOff val="80000"/>
            </a:schemeClr>
          </a:solidFill>
          <a:ln w="12700" cap="flat">
            <a:noFill/>
            <a:miter lim="400000"/>
          </a:ln>
          <a:effectLst/>
        </p:spPr>
        <p:txBody>
          <a:bodyPr wrap="square" lIns="0" tIns="0" rIns="0" bIns="0" numCol="1" anchor="ctr">
            <a:noAutofit/>
          </a:bodyPr>
          <a:lstStyle/>
          <a:p>
            <a:pPr>
              <a:defRPr>
                <a:solidFill>
                  <a:srgbClr val="4C4C4C"/>
                </a:solidFill>
              </a:defRPr>
            </a:pPr>
            <a:endParaRPr sz="1899">
              <a:latin typeface="Nunito Sans ExtraLight" pitchFamily="2" charset="77"/>
            </a:endParaRPr>
          </a:p>
        </p:txBody>
      </p:sp>
      <p:sp>
        <p:nvSpPr>
          <p:cNvPr id="63" name="Shape 6494">
            <a:extLst>
              <a:ext uri="{FF2B5EF4-FFF2-40B4-BE49-F238E27FC236}">
                <a16:creationId xmlns:a16="http://schemas.microsoft.com/office/drawing/2014/main" id="{34457C33-308D-AF4E-B513-7935FBC25616}"/>
              </a:ext>
            </a:extLst>
          </p:cNvPr>
          <p:cNvSpPr/>
          <p:nvPr/>
        </p:nvSpPr>
        <p:spPr>
          <a:xfrm>
            <a:off x="3859753" y="2151258"/>
            <a:ext cx="1235279" cy="1110575"/>
          </a:xfrm>
          <a:custGeom>
            <a:avLst/>
            <a:gdLst/>
            <a:ahLst/>
            <a:cxnLst>
              <a:cxn ang="0">
                <a:pos x="wd2" y="hd2"/>
              </a:cxn>
              <a:cxn ang="5400000">
                <a:pos x="wd2" y="hd2"/>
              </a:cxn>
              <a:cxn ang="10800000">
                <a:pos x="wd2" y="hd2"/>
              </a:cxn>
              <a:cxn ang="16200000">
                <a:pos x="wd2" y="hd2"/>
              </a:cxn>
            </a:cxnLst>
            <a:rect l="0" t="0" r="r" b="b"/>
            <a:pathLst>
              <a:path w="21519" h="21364" extrusionOk="0">
                <a:moveTo>
                  <a:pt x="3010" y="6585"/>
                </a:moveTo>
                <a:cubicBezTo>
                  <a:pt x="2435" y="7097"/>
                  <a:pt x="992" y="7348"/>
                  <a:pt x="363" y="6890"/>
                </a:cubicBezTo>
                <a:cubicBezTo>
                  <a:pt x="444" y="6750"/>
                  <a:pt x="713" y="6786"/>
                  <a:pt x="499" y="6579"/>
                </a:cubicBezTo>
                <a:cubicBezTo>
                  <a:pt x="464" y="6545"/>
                  <a:pt x="118" y="6445"/>
                  <a:pt x="106" y="6460"/>
                </a:cubicBezTo>
                <a:cubicBezTo>
                  <a:pt x="240" y="6289"/>
                  <a:pt x="512" y="6444"/>
                  <a:pt x="654" y="6279"/>
                </a:cubicBezTo>
                <a:cubicBezTo>
                  <a:pt x="796" y="6113"/>
                  <a:pt x="-14" y="6151"/>
                  <a:pt x="0" y="6157"/>
                </a:cubicBezTo>
                <a:cubicBezTo>
                  <a:pt x="226" y="5657"/>
                  <a:pt x="953" y="5687"/>
                  <a:pt x="954" y="6266"/>
                </a:cubicBezTo>
                <a:cubicBezTo>
                  <a:pt x="1102" y="6190"/>
                  <a:pt x="1215" y="6074"/>
                  <a:pt x="1294" y="5918"/>
                </a:cubicBezTo>
                <a:cubicBezTo>
                  <a:pt x="1537" y="5893"/>
                  <a:pt x="2370" y="6107"/>
                  <a:pt x="2491" y="5816"/>
                </a:cubicBezTo>
                <a:cubicBezTo>
                  <a:pt x="2514" y="5759"/>
                  <a:pt x="3682" y="5987"/>
                  <a:pt x="3010" y="6585"/>
                </a:cubicBezTo>
                <a:cubicBezTo>
                  <a:pt x="2843" y="6734"/>
                  <a:pt x="3142" y="6468"/>
                  <a:pt x="3010" y="6585"/>
                </a:cubicBezTo>
                <a:close/>
                <a:moveTo>
                  <a:pt x="11005" y="300"/>
                </a:moveTo>
                <a:cubicBezTo>
                  <a:pt x="11317" y="195"/>
                  <a:pt x="11825" y="280"/>
                  <a:pt x="12088" y="495"/>
                </a:cubicBezTo>
                <a:cubicBezTo>
                  <a:pt x="12051" y="428"/>
                  <a:pt x="12017" y="355"/>
                  <a:pt x="12030" y="274"/>
                </a:cubicBezTo>
                <a:cubicBezTo>
                  <a:pt x="12514" y="182"/>
                  <a:pt x="14125" y="719"/>
                  <a:pt x="14503" y="1064"/>
                </a:cubicBezTo>
                <a:cubicBezTo>
                  <a:pt x="14355" y="1090"/>
                  <a:pt x="13593" y="1487"/>
                  <a:pt x="13494" y="1113"/>
                </a:cubicBezTo>
                <a:cubicBezTo>
                  <a:pt x="13514" y="1074"/>
                  <a:pt x="13535" y="1036"/>
                  <a:pt x="13555" y="997"/>
                </a:cubicBezTo>
                <a:cubicBezTo>
                  <a:pt x="13092" y="666"/>
                  <a:pt x="12573" y="887"/>
                  <a:pt x="12439" y="1482"/>
                </a:cubicBezTo>
                <a:cubicBezTo>
                  <a:pt x="12305" y="1656"/>
                  <a:pt x="11018" y="988"/>
                  <a:pt x="11664" y="897"/>
                </a:cubicBezTo>
                <a:cubicBezTo>
                  <a:pt x="11583" y="891"/>
                  <a:pt x="10294" y="541"/>
                  <a:pt x="11005" y="300"/>
                </a:cubicBezTo>
                <a:cubicBezTo>
                  <a:pt x="11317" y="195"/>
                  <a:pt x="10790" y="373"/>
                  <a:pt x="11005" y="300"/>
                </a:cubicBezTo>
                <a:close/>
                <a:moveTo>
                  <a:pt x="13416" y="415"/>
                </a:moveTo>
                <a:cubicBezTo>
                  <a:pt x="13177" y="380"/>
                  <a:pt x="12943" y="324"/>
                  <a:pt x="12720" y="200"/>
                </a:cubicBezTo>
                <a:cubicBezTo>
                  <a:pt x="13106" y="-111"/>
                  <a:pt x="14518" y="-25"/>
                  <a:pt x="14908" y="222"/>
                </a:cubicBezTo>
                <a:cubicBezTo>
                  <a:pt x="14603" y="635"/>
                  <a:pt x="13826" y="474"/>
                  <a:pt x="13416" y="415"/>
                </a:cubicBezTo>
                <a:cubicBezTo>
                  <a:pt x="13177" y="380"/>
                  <a:pt x="13560" y="435"/>
                  <a:pt x="13416" y="415"/>
                </a:cubicBezTo>
                <a:close/>
                <a:moveTo>
                  <a:pt x="17057" y="21008"/>
                </a:moveTo>
                <a:cubicBezTo>
                  <a:pt x="17044" y="21058"/>
                  <a:pt x="17025" y="21102"/>
                  <a:pt x="16998" y="21143"/>
                </a:cubicBezTo>
                <a:cubicBezTo>
                  <a:pt x="16638" y="21123"/>
                  <a:pt x="16355" y="21046"/>
                  <a:pt x="15994" y="21031"/>
                </a:cubicBezTo>
                <a:cubicBezTo>
                  <a:pt x="15992" y="20975"/>
                  <a:pt x="15985" y="20922"/>
                  <a:pt x="15986" y="20864"/>
                </a:cubicBezTo>
                <a:cubicBezTo>
                  <a:pt x="16167" y="20818"/>
                  <a:pt x="16655" y="20912"/>
                  <a:pt x="16834" y="20976"/>
                </a:cubicBezTo>
                <a:cubicBezTo>
                  <a:pt x="16831" y="20995"/>
                  <a:pt x="16840" y="21021"/>
                  <a:pt x="16837" y="21040"/>
                </a:cubicBezTo>
                <a:cubicBezTo>
                  <a:pt x="16925" y="21067"/>
                  <a:pt x="16976" y="21002"/>
                  <a:pt x="17057" y="21008"/>
                </a:cubicBezTo>
                <a:cubicBezTo>
                  <a:pt x="17069" y="21052"/>
                  <a:pt x="16976" y="21002"/>
                  <a:pt x="17057" y="21008"/>
                </a:cubicBezTo>
                <a:close/>
                <a:moveTo>
                  <a:pt x="15035" y="9329"/>
                </a:moveTo>
                <a:cubicBezTo>
                  <a:pt x="15040" y="9332"/>
                  <a:pt x="15043" y="9336"/>
                  <a:pt x="15046" y="9340"/>
                </a:cubicBezTo>
                <a:cubicBezTo>
                  <a:pt x="15083" y="9411"/>
                  <a:pt x="14747" y="9586"/>
                  <a:pt x="14719" y="9588"/>
                </a:cubicBezTo>
                <a:cubicBezTo>
                  <a:pt x="14509" y="9606"/>
                  <a:pt x="14814" y="9185"/>
                  <a:pt x="15035" y="9329"/>
                </a:cubicBezTo>
                <a:cubicBezTo>
                  <a:pt x="15040" y="9332"/>
                  <a:pt x="15025" y="9323"/>
                  <a:pt x="15035" y="9329"/>
                </a:cubicBezTo>
                <a:close/>
                <a:moveTo>
                  <a:pt x="10464" y="17106"/>
                </a:moveTo>
                <a:lnTo>
                  <a:pt x="10453" y="17083"/>
                </a:lnTo>
                <a:cubicBezTo>
                  <a:pt x="10426" y="17405"/>
                  <a:pt x="10539" y="17595"/>
                  <a:pt x="10345" y="17882"/>
                </a:cubicBezTo>
                <a:cubicBezTo>
                  <a:pt x="9796" y="17382"/>
                  <a:pt x="10473" y="17289"/>
                  <a:pt x="10464" y="17106"/>
                </a:cubicBezTo>
                <a:cubicBezTo>
                  <a:pt x="10464" y="17106"/>
                  <a:pt x="10457" y="16967"/>
                  <a:pt x="10464" y="17106"/>
                </a:cubicBezTo>
                <a:close/>
                <a:moveTo>
                  <a:pt x="10564" y="18237"/>
                </a:moveTo>
                <a:cubicBezTo>
                  <a:pt x="10602" y="18346"/>
                  <a:pt x="10551" y="18790"/>
                  <a:pt x="10530" y="18920"/>
                </a:cubicBezTo>
                <a:cubicBezTo>
                  <a:pt x="10485" y="19203"/>
                  <a:pt x="10300" y="18856"/>
                  <a:pt x="10290" y="19078"/>
                </a:cubicBezTo>
                <a:cubicBezTo>
                  <a:pt x="10271" y="19507"/>
                  <a:pt x="9961" y="18146"/>
                  <a:pt x="9970" y="18150"/>
                </a:cubicBezTo>
                <a:cubicBezTo>
                  <a:pt x="10234" y="18257"/>
                  <a:pt x="10411" y="17796"/>
                  <a:pt x="10564" y="18237"/>
                </a:cubicBezTo>
                <a:cubicBezTo>
                  <a:pt x="10578" y="18276"/>
                  <a:pt x="10539" y="18164"/>
                  <a:pt x="10564" y="18237"/>
                </a:cubicBezTo>
                <a:close/>
                <a:moveTo>
                  <a:pt x="5029" y="10651"/>
                </a:moveTo>
                <a:cubicBezTo>
                  <a:pt x="5077" y="10532"/>
                  <a:pt x="5345" y="10601"/>
                  <a:pt x="5317" y="10393"/>
                </a:cubicBezTo>
                <a:cubicBezTo>
                  <a:pt x="5309" y="10405"/>
                  <a:pt x="5301" y="10411"/>
                  <a:pt x="5295" y="10424"/>
                </a:cubicBezTo>
                <a:cubicBezTo>
                  <a:pt x="5232" y="10439"/>
                  <a:pt x="5176" y="10423"/>
                  <a:pt x="5111" y="10424"/>
                </a:cubicBezTo>
                <a:cubicBezTo>
                  <a:pt x="5102" y="10395"/>
                  <a:pt x="5323" y="9733"/>
                  <a:pt x="5376" y="9698"/>
                </a:cubicBezTo>
                <a:cubicBezTo>
                  <a:pt x="5467" y="9638"/>
                  <a:pt x="5548" y="9315"/>
                  <a:pt x="5670" y="9337"/>
                </a:cubicBezTo>
                <a:cubicBezTo>
                  <a:pt x="5754" y="9352"/>
                  <a:pt x="6274" y="9294"/>
                  <a:pt x="6258" y="9415"/>
                </a:cubicBezTo>
                <a:cubicBezTo>
                  <a:pt x="6253" y="9452"/>
                  <a:pt x="5825" y="9767"/>
                  <a:pt x="5928" y="9811"/>
                </a:cubicBezTo>
                <a:cubicBezTo>
                  <a:pt x="5995" y="9839"/>
                  <a:pt x="6642" y="9635"/>
                  <a:pt x="6636" y="9850"/>
                </a:cubicBezTo>
                <a:cubicBezTo>
                  <a:pt x="6630" y="10107"/>
                  <a:pt x="6142" y="10320"/>
                  <a:pt x="6302" y="10517"/>
                </a:cubicBezTo>
                <a:cubicBezTo>
                  <a:pt x="6401" y="10638"/>
                  <a:pt x="6622" y="10658"/>
                  <a:pt x="6653" y="10846"/>
                </a:cubicBezTo>
                <a:cubicBezTo>
                  <a:pt x="6671" y="10958"/>
                  <a:pt x="6675" y="11181"/>
                  <a:pt x="6785" y="11246"/>
                </a:cubicBezTo>
                <a:cubicBezTo>
                  <a:pt x="7128" y="11447"/>
                  <a:pt x="7055" y="11926"/>
                  <a:pt x="7226" y="12079"/>
                </a:cubicBezTo>
                <a:cubicBezTo>
                  <a:pt x="7345" y="12186"/>
                  <a:pt x="7646" y="11861"/>
                  <a:pt x="7721" y="12232"/>
                </a:cubicBezTo>
                <a:cubicBezTo>
                  <a:pt x="7759" y="12416"/>
                  <a:pt x="7449" y="12755"/>
                  <a:pt x="7292" y="12788"/>
                </a:cubicBezTo>
                <a:cubicBezTo>
                  <a:pt x="7264" y="12782"/>
                  <a:pt x="7615" y="12821"/>
                  <a:pt x="7617" y="12880"/>
                </a:cubicBezTo>
                <a:cubicBezTo>
                  <a:pt x="7622" y="13056"/>
                  <a:pt x="6316" y="13296"/>
                  <a:pt x="6190" y="13215"/>
                </a:cubicBezTo>
                <a:cubicBezTo>
                  <a:pt x="5876" y="13016"/>
                  <a:pt x="5422" y="13624"/>
                  <a:pt x="4985" y="13472"/>
                </a:cubicBezTo>
                <a:cubicBezTo>
                  <a:pt x="5239" y="13140"/>
                  <a:pt x="5940" y="13044"/>
                  <a:pt x="6110" y="12742"/>
                </a:cubicBezTo>
                <a:cubicBezTo>
                  <a:pt x="5925" y="12832"/>
                  <a:pt x="5802" y="12692"/>
                  <a:pt x="5782" y="12693"/>
                </a:cubicBezTo>
                <a:cubicBezTo>
                  <a:pt x="5654" y="12701"/>
                  <a:pt x="5527" y="12674"/>
                  <a:pt x="5405" y="12714"/>
                </a:cubicBezTo>
                <a:cubicBezTo>
                  <a:pt x="5071" y="12824"/>
                  <a:pt x="5664" y="12288"/>
                  <a:pt x="5650" y="12311"/>
                </a:cubicBezTo>
                <a:cubicBezTo>
                  <a:pt x="5754" y="12141"/>
                  <a:pt x="5455" y="11802"/>
                  <a:pt x="5686" y="11851"/>
                </a:cubicBezTo>
                <a:cubicBezTo>
                  <a:pt x="5913" y="11898"/>
                  <a:pt x="6249" y="11772"/>
                  <a:pt x="6176" y="11451"/>
                </a:cubicBezTo>
                <a:cubicBezTo>
                  <a:pt x="5978" y="11400"/>
                  <a:pt x="5859" y="11364"/>
                  <a:pt x="6069" y="11081"/>
                </a:cubicBezTo>
                <a:cubicBezTo>
                  <a:pt x="5935" y="11261"/>
                  <a:pt x="5499" y="11034"/>
                  <a:pt x="5491" y="11228"/>
                </a:cubicBezTo>
                <a:cubicBezTo>
                  <a:pt x="5230" y="11183"/>
                  <a:pt x="5585" y="10919"/>
                  <a:pt x="5602" y="10890"/>
                </a:cubicBezTo>
                <a:cubicBezTo>
                  <a:pt x="5707" y="10710"/>
                  <a:pt x="5363" y="10523"/>
                  <a:pt x="5390" y="10718"/>
                </a:cubicBezTo>
                <a:cubicBezTo>
                  <a:pt x="5581" y="10787"/>
                  <a:pt x="5302" y="10864"/>
                  <a:pt x="5290" y="10905"/>
                </a:cubicBezTo>
                <a:cubicBezTo>
                  <a:pt x="5166" y="10939"/>
                  <a:pt x="5297" y="10688"/>
                  <a:pt x="5272" y="10646"/>
                </a:cubicBezTo>
                <a:cubicBezTo>
                  <a:pt x="5255" y="10619"/>
                  <a:pt x="4940" y="10871"/>
                  <a:pt x="5029" y="10651"/>
                </a:cubicBezTo>
                <a:cubicBezTo>
                  <a:pt x="5047" y="10606"/>
                  <a:pt x="5016" y="10683"/>
                  <a:pt x="5029" y="10651"/>
                </a:cubicBezTo>
                <a:close/>
                <a:moveTo>
                  <a:pt x="19919" y="20951"/>
                </a:moveTo>
                <a:cubicBezTo>
                  <a:pt x="19993" y="20920"/>
                  <a:pt x="20069" y="20888"/>
                  <a:pt x="20137" y="20844"/>
                </a:cubicBezTo>
                <a:cubicBezTo>
                  <a:pt x="20138" y="20843"/>
                  <a:pt x="19724" y="21347"/>
                  <a:pt x="19988" y="21347"/>
                </a:cubicBezTo>
                <a:cubicBezTo>
                  <a:pt x="19707" y="21325"/>
                  <a:pt x="19367" y="21489"/>
                  <a:pt x="19252" y="21103"/>
                </a:cubicBezTo>
                <a:cubicBezTo>
                  <a:pt x="19317" y="21150"/>
                  <a:pt x="19414" y="21101"/>
                  <a:pt x="19487" y="21094"/>
                </a:cubicBezTo>
                <a:cubicBezTo>
                  <a:pt x="19505" y="21064"/>
                  <a:pt x="19515" y="21012"/>
                  <a:pt x="19515" y="20976"/>
                </a:cubicBezTo>
                <a:cubicBezTo>
                  <a:pt x="19659" y="20996"/>
                  <a:pt x="19780" y="21008"/>
                  <a:pt x="19919" y="20951"/>
                </a:cubicBezTo>
                <a:cubicBezTo>
                  <a:pt x="19993" y="20920"/>
                  <a:pt x="19780" y="21008"/>
                  <a:pt x="19919" y="20951"/>
                </a:cubicBezTo>
                <a:close/>
                <a:moveTo>
                  <a:pt x="3448" y="12512"/>
                </a:moveTo>
                <a:lnTo>
                  <a:pt x="3439" y="12467"/>
                </a:lnTo>
                <a:cubicBezTo>
                  <a:pt x="3441" y="12484"/>
                  <a:pt x="3910" y="11973"/>
                  <a:pt x="3927" y="11961"/>
                </a:cubicBezTo>
                <a:cubicBezTo>
                  <a:pt x="3801" y="11949"/>
                  <a:pt x="3649" y="11911"/>
                  <a:pt x="3652" y="11769"/>
                </a:cubicBezTo>
                <a:lnTo>
                  <a:pt x="3653" y="11732"/>
                </a:lnTo>
                <a:cubicBezTo>
                  <a:pt x="3638" y="11187"/>
                  <a:pt x="4036" y="11537"/>
                  <a:pt x="4296" y="11292"/>
                </a:cubicBezTo>
                <a:cubicBezTo>
                  <a:pt x="4019" y="11229"/>
                  <a:pt x="4821" y="10776"/>
                  <a:pt x="5082" y="10841"/>
                </a:cubicBezTo>
                <a:cubicBezTo>
                  <a:pt x="5103" y="10873"/>
                  <a:pt x="5214" y="11022"/>
                  <a:pt x="5230" y="11072"/>
                </a:cubicBezTo>
                <a:cubicBezTo>
                  <a:pt x="5337" y="11212"/>
                  <a:pt x="5329" y="11337"/>
                  <a:pt x="5207" y="11445"/>
                </a:cubicBezTo>
                <a:cubicBezTo>
                  <a:pt x="4948" y="11696"/>
                  <a:pt x="5225" y="11803"/>
                  <a:pt x="5096" y="12165"/>
                </a:cubicBezTo>
                <a:cubicBezTo>
                  <a:pt x="4944" y="12594"/>
                  <a:pt x="3961" y="12830"/>
                  <a:pt x="3623" y="12797"/>
                </a:cubicBezTo>
                <a:lnTo>
                  <a:pt x="3629" y="12759"/>
                </a:lnTo>
                <a:cubicBezTo>
                  <a:pt x="3593" y="12765"/>
                  <a:pt x="3565" y="12764"/>
                  <a:pt x="3528" y="12766"/>
                </a:cubicBezTo>
                <a:cubicBezTo>
                  <a:pt x="3509" y="12734"/>
                  <a:pt x="3505" y="12702"/>
                  <a:pt x="3523" y="12678"/>
                </a:cubicBezTo>
                <a:cubicBezTo>
                  <a:pt x="3435" y="12635"/>
                  <a:pt x="3431" y="12581"/>
                  <a:pt x="3510" y="12516"/>
                </a:cubicBezTo>
                <a:cubicBezTo>
                  <a:pt x="3502" y="12515"/>
                  <a:pt x="3448" y="12512"/>
                  <a:pt x="3448" y="12512"/>
                </a:cubicBezTo>
                <a:cubicBezTo>
                  <a:pt x="3448" y="12512"/>
                  <a:pt x="3448" y="12512"/>
                  <a:pt x="3448" y="12512"/>
                </a:cubicBezTo>
                <a:close/>
                <a:moveTo>
                  <a:pt x="11104" y="9151"/>
                </a:moveTo>
                <a:cubicBezTo>
                  <a:pt x="11102" y="9148"/>
                  <a:pt x="11098" y="9146"/>
                  <a:pt x="11094" y="9143"/>
                </a:cubicBezTo>
                <a:cubicBezTo>
                  <a:pt x="11097" y="9141"/>
                  <a:pt x="11101" y="9138"/>
                  <a:pt x="11105" y="9135"/>
                </a:cubicBezTo>
                <a:cubicBezTo>
                  <a:pt x="11105" y="9140"/>
                  <a:pt x="11105" y="9147"/>
                  <a:pt x="11104" y="9151"/>
                </a:cubicBezTo>
                <a:cubicBezTo>
                  <a:pt x="11102" y="9148"/>
                  <a:pt x="11105" y="9147"/>
                  <a:pt x="11104" y="9151"/>
                </a:cubicBezTo>
                <a:close/>
                <a:moveTo>
                  <a:pt x="21399" y="14198"/>
                </a:moveTo>
                <a:cubicBezTo>
                  <a:pt x="21409" y="14173"/>
                  <a:pt x="21499" y="14149"/>
                  <a:pt x="21520" y="14142"/>
                </a:cubicBezTo>
                <a:lnTo>
                  <a:pt x="21423" y="14087"/>
                </a:lnTo>
                <a:cubicBezTo>
                  <a:pt x="21320" y="14027"/>
                  <a:pt x="21586" y="13723"/>
                  <a:pt x="21296" y="13692"/>
                </a:cubicBezTo>
                <a:cubicBezTo>
                  <a:pt x="21112" y="13672"/>
                  <a:pt x="20805" y="13386"/>
                  <a:pt x="20627" y="13557"/>
                </a:cubicBezTo>
                <a:cubicBezTo>
                  <a:pt x="20375" y="13291"/>
                  <a:pt x="20136" y="13280"/>
                  <a:pt x="19764" y="13317"/>
                </a:cubicBezTo>
                <a:cubicBezTo>
                  <a:pt x="19859" y="13317"/>
                  <a:pt x="19308" y="12896"/>
                  <a:pt x="19323" y="12913"/>
                </a:cubicBezTo>
                <a:cubicBezTo>
                  <a:pt x="19229" y="12913"/>
                  <a:pt x="19162" y="12594"/>
                  <a:pt x="19105" y="12495"/>
                </a:cubicBezTo>
                <a:cubicBezTo>
                  <a:pt x="18878" y="12097"/>
                  <a:pt x="18551" y="12640"/>
                  <a:pt x="18342" y="12454"/>
                </a:cubicBezTo>
                <a:cubicBezTo>
                  <a:pt x="18213" y="12393"/>
                  <a:pt x="18189" y="12168"/>
                  <a:pt x="18086" y="12043"/>
                </a:cubicBezTo>
                <a:cubicBezTo>
                  <a:pt x="18386" y="11994"/>
                  <a:pt x="18733" y="11639"/>
                  <a:pt x="18199" y="11620"/>
                </a:cubicBezTo>
                <a:cubicBezTo>
                  <a:pt x="18172" y="11530"/>
                  <a:pt x="17896" y="11200"/>
                  <a:pt x="17799" y="11143"/>
                </a:cubicBezTo>
                <a:cubicBezTo>
                  <a:pt x="17967" y="10775"/>
                  <a:pt x="17329" y="10571"/>
                  <a:pt x="17149" y="10533"/>
                </a:cubicBezTo>
                <a:cubicBezTo>
                  <a:pt x="16689" y="10533"/>
                  <a:pt x="16796" y="10101"/>
                  <a:pt x="16546" y="9833"/>
                </a:cubicBezTo>
                <a:cubicBezTo>
                  <a:pt x="16590" y="9843"/>
                  <a:pt x="16633" y="9860"/>
                  <a:pt x="16674" y="9878"/>
                </a:cubicBezTo>
                <a:lnTo>
                  <a:pt x="16626" y="9776"/>
                </a:lnTo>
                <a:cubicBezTo>
                  <a:pt x="16769" y="9536"/>
                  <a:pt x="16634" y="9167"/>
                  <a:pt x="16725" y="8824"/>
                </a:cubicBezTo>
                <a:cubicBezTo>
                  <a:pt x="16306" y="8876"/>
                  <a:pt x="15803" y="8638"/>
                  <a:pt x="15397" y="8843"/>
                </a:cubicBezTo>
                <a:cubicBezTo>
                  <a:pt x="14990" y="9046"/>
                  <a:pt x="15218" y="9655"/>
                  <a:pt x="15490" y="9475"/>
                </a:cubicBezTo>
                <a:cubicBezTo>
                  <a:pt x="15446" y="9559"/>
                  <a:pt x="15400" y="9612"/>
                  <a:pt x="15302" y="9624"/>
                </a:cubicBezTo>
                <a:cubicBezTo>
                  <a:pt x="15527" y="10138"/>
                  <a:pt x="15043" y="10023"/>
                  <a:pt x="14840" y="9709"/>
                </a:cubicBezTo>
                <a:lnTo>
                  <a:pt x="14842" y="9700"/>
                </a:lnTo>
                <a:cubicBezTo>
                  <a:pt x="14833" y="9734"/>
                  <a:pt x="14822" y="9767"/>
                  <a:pt x="14810" y="9799"/>
                </a:cubicBezTo>
                <a:cubicBezTo>
                  <a:pt x="14723" y="9791"/>
                  <a:pt x="14635" y="9776"/>
                  <a:pt x="14548" y="9751"/>
                </a:cubicBezTo>
                <a:cubicBezTo>
                  <a:pt x="14418" y="9770"/>
                  <a:pt x="14357" y="9921"/>
                  <a:pt x="14366" y="10048"/>
                </a:cubicBezTo>
                <a:lnTo>
                  <a:pt x="14272" y="10101"/>
                </a:lnTo>
                <a:cubicBezTo>
                  <a:pt x="14229" y="10390"/>
                  <a:pt x="14291" y="10708"/>
                  <a:pt x="14374" y="10979"/>
                </a:cubicBezTo>
                <a:cubicBezTo>
                  <a:pt x="14374" y="10980"/>
                  <a:pt x="14706" y="11039"/>
                  <a:pt x="14271" y="10982"/>
                </a:cubicBezTo>
                <a:cubicBezTo>
                  <a:pt x="14155" y="10964"/>
                  <a:pt x="14030" y="11072"/>
                  <a:pt x="14168" y="11177"/>
                </a:cubicBezTo>
                <a:cubicBezTo>
                  <a:pt x="14151" y="11181"/>
                  <a:pt x="14133" y="11186"/>
                  <a:pt x="14115" y="11190"/>
                </a:cubicBezTo>
                <a:cubicBezTo>
                  <a:pt x="14118" y="11235"/>
                  <a:pt x="14112" y="11279"/>
                  <a:pt x="14095" y="11321"/>
                </a:cubicBezTo>
                <a:cubicBezTo>
                  <a:pt x="14319" y="11407"/>
                  <a:pt x="14597" y="11381"/>
                  <a:pt x="14839" y="11383"/>
                </a:cubicBezTo>
                <a:lnTo>
                  <a:pt x="14792" y="11431"/>
                </a:lnTo>
                <a:cubicBezTo>
                  <a:pt x="14873" y="11397"/>
                  <a:pt x="15020" y="11368"/>
                  <a:pt x="15097" y="11423"/>
                </a:cubicBezTo>
                <a:cubicBezTo>
                  <a:pt x="14771" y="11469"/>
                  <a:pt x="14345" y="11485"/>
                  <a:pt x="14023" y="11419"/>
                </a:cubicBezTo>
                <a:cubicBezTo>
                  <a:pt x="13755" y="11424"/>
                  <a:pt x="13655" y="11208"/>
                  <a:pt x="13442" y="11208"/>
                </a:cubicBezTo>
                <a:cubicBezTo>
                  <a:pt x="13013" y="11208"/>
                  <a:pt x="12497" y="11570"/>
                  <a:pt x="12077" y="11683"/>
                </a:cubicBezTo>
                <a:cubicBezTo>
                  <a:pt x="12021" y="11598"/>
                  <a:pt x="11938" y="11539"/>
                  <a:pt x="11850" y="11498"/>
                </a:cubicBezTo>
                <a:cubicBezTo>
                  <a:pt x="11906" y="11380"/>
                  <a:pt x="11866" y="11334"/>
                  <a:pt x="11769" y="11310"/>
                </a:cubicBezTo>
                <a:lnTo>
                  <a:pt x="11748" y="11359"/>
                </a:lnTo>
                <a:cubicBezTo>
                  <a:pt x="11689" y="11359"/>
                  <a:pt x="11635" y="11383"/>
                  <a:pt x="11585" y="11434"/>
                </a:cubicBezTo>
                <a:cubicBezTo>
                  <a:pt x="11468" y="11434"/>
                  <a:pt x="11068" y="11450"/>
                  <a:pt x="10966" y="11574"/>
                </a:cubicBezTo>
                <a:cubicBezTo>
                  <a:pt x="11003" y="11493"/>
                  <a:pt x="11068" y="11431"/>
                  <a:pt x="11053" y="11329"/>
                </a:cubicBezTo>
                <a:cubicBezTo>
                  <a:pt x="11360" y="11511"/>
                  <a:pt x="11587" y="10834"/>
                  <a:pt x="11473" y="10674"/>
                </a:cubicBezTo>
                <a:cubicBezTo>
                  <a:pt x="11548" y="11455"/>
                  <a:pt x="12215" y="10595"/>
                  <a:pt x="12459" y="10590"/>
                </a:cubicBezTo>
                <a:cubicBezTo>
                  <a:pt x="12794" y="10584"/>
                  <a:pt x="12838" y="10062"/>
                  <a:pt x="12863" y="9783"/>
                </a:cubicBezTo>
                <a:cubicBezTo>
                  <a:pt x="12881" y="9580"/>
                  <a:pt x="13458" y="9031"/>
                  <a:pt x="13427" y="8990"/>
                </a:cubicBezTo>
                <a:cubicBezTo>
                  <a:pt x="13815" y="8727"/>
                  <a:pt x="12477" y="8225"/>
                  <a:pt x="13133" y="7551"/>
                </a:cubicBezTo>
                <a:cubicBezTo>
                  <a:pt x="13342" y="7340"/>
                  <a:pt x="13527" y="7230"/>
                  <a:pt x="13796" y="7110"/>
                </a:cubicBezTo>
                <a:cubicBezTo>
                  <a:pt x="13875" y="7074"/>
                  <a:pt x="14210" y="6821"/>
                  <a:pt x="14230" y="6703"/>
                </a:cubicBezTo>
                <a:cubicBezTo>
                  <a:pt x="14239" y="6653"/>
                  <a:pt x="14134" y="6487"/>
                  <a:pt x="14081" y="6528"/>
                </a:cubicBezTo>
                <a:cubicBezTo>
                  <a:pt x="14339" y="5989"/>
                  <a:pt x="15221" y="5978"/>
                  <a:pt x="15459" y="6484"/>
                </a:cubicBezTo>
                <a:cubicBezTo>
                  <a:pt x="15284" y="6479"/>
                  <a:pt x="14555" y="7035"/>
                  <a:pt x="14534" y="7238"/>
                </a:cubicBezTo>
                <a:cubicBezTo>
                  <a:pt x="14055" y="7196"/>
                  <a:pt x="14378" y="8563"/>
                  <a:pt x="14576" y="8615"/>
                </a:cubicBezTo>
                <a:cubicBezTo>
                  <a:pt x="14918" y="8705"/>
                  <a:pt x="14912" y="8954"/>
                  <a:pt x="15299" y="8832"/>
                </a:cubicBezTo>
                <a:cubicBezTo>
                  <a:pt x="16051" y="8597"/>
                  <a:pt x="16518" y="8623"/>
                  <a:pt x="17126" y="8089"/>
                </a:cubicBezTo>
                <a:cubicBezTo>
                  <a:pt x="17989" y="7332"/>
                  <a:pt x="17131" y="7189"/>
                  <a:pt x="16960" y="6564"/>
                </a:cubicBezTo>
                <a:cubicBezTo>
                  <a:pt x="16891" y="6310"/>
                  <a:pt x="16962" y="6056"/>
                  <a:pt x="16770" y="5802"/>
                </a:cubicBezTo>
                <a:cubicBezTo>
                  <a:pt x="16593" y="5570"/>
                  <a:pt x="16691" y="5715"/>
                  <a:pt x="16751" y="5394"/>
                </a:cubicBezTo>
                <a:cubicBezTo>
                  <a:pt x="16807" y="5092"/>
                  <a:pt x="16443" y="5099"/>
                  <a:pt x="16319" y="4939"/>
                </a:cubicBezTo>
                <a:cubicBezTo>
                  <a:pt x="16366" y="4885"/>
                  <a:pt x="16402" y="4805"/>
                  <a:pt x="16433" y="4739"/>
                </a:cubicBezTo>
                <a:cubicBezTo>
                  <a:pt x="16397" y="4728"/>
                  <a:pt x="16370" y="4705"/>
                  <a:pt x="16352" y="4670"/>
                </a:cubicBezTo>
                <a:cubicBezTo>
                  <a:pt x="16486" y="4552"/>
                  <a:pt x="16817" y="4457"/>
                  <a:pt x="16817" y="4297"/>
                </a:cubicBezTo>
                <a:lnTo>
                  <a:pt x="16777" y="4292"/>
                </a:lnTo>
                <a:lnTo>
                  <a:pt x="16781" y="4239"/>
                </a:lnTo>
                <a:cubicBezTo>
                  <a:pt x="16681" y="4213"/>
                  <a:pt x="16582" y="4186"/>
                  <a:pt x="16483" y="4156"/>
                </a:cubicBezTo>
                <a:cubicBezTo>
                  <a:pt x="16600" y="4125"/>
                  <a:pt x="16712" y="4098"/>
                  <a:pt x="16819" y="4044"/>
                </a:cubicBezTo>
                <a:lnTo>
                  <a:pt x="16812" y="4008"/>
                </a:lnTo>
                <a:cubicBezTo>
                  <a:pt x="16788" y="3879"/>
                  <a:pt x="16102" y="3767"/>
                  <a:pt x="16024" y="3831"/>
                </a:cubicBezTo>
                <a:cubicBezTo>
                  <a:pt x="16035" y="3485"/>
                  <a:pt x="15559" y="3828"/>
                  <a:pt x="15481" y="3933"/>
                </a:cubicBezTo>
                <a:cubicBezTo>
                  <a:pt x="15481" y="3810"/>
                  <a:pt x="15465" y="3728"/>
                  <a:pt x="15353" y="3712"/>
                </a:cubicBezTo>
                <a:cubicBezTo>
                  <a:pt x="15350" y="3712"/>
                  <a:pt x="15455" y="3766"/>
                  <a:pt x="15313" y="3766"/>
                </a:cubicBezTo>
                <a:lnTo>
                  <a:pt x="15313" y="3708"/>
                </a:lnTo>
                <a:cubicBezTo>
                  <a:pt x="14920" y="3686"/>
                  <a:pt x="14462" y="3793"/>
                  <a:pt x="14080" y="3879"/>
                </a:cubicBezTo>
                <a:lnTo>
                  <a:pt x="14055" y="3979"/>
                </a:lnTo>
                <a:cubicBezTo>
                  <a:pt x="14083" y="3996"/>
                  <a:pt x="14112" y="4012"/>
                  <a:pt x="14141" y="4027"/>
                </a:cubicBezTo>
                <a:cubicBezTo>
                  <a:pt x="14126" y="4044"/>
                  <a:pt x="13707" y="4059"/>
                  <a:pt x="13848" y="4178"/>
                </a:cubicBezTo>
                <a:cubicBezTo>
                  <a:pt x="13839" y="4188"/>
                  <a:pt x="13730" y="4250"/>
                  <a:pt x="13705" y="4250"/>
                </a:cubicBezTo>
                <a:cubicBezTo>
                  <a:pt x="13546" y="4221"/>
                  <a:pt x="13373" y="4049"/>
                  <a:pt x="13215" y="4159"/>
                </a:cubicBezTo>
                <a:cubicBezTo>
                  <a:pt x="13149" y="4204"/>
                  <a:pt x="12175" y="4604"/>
                  <a:pt x="12746" y="4666"/>
                </a:cubicBezTo>
                <a:cubicBezTo>
                  <a:pt x="12622" y="4865"/>
                  <a:pt x="12457" y="4653"/>
                  <a:pt x="12460" y="4524"/>
                </a:cubicBezTo>
                <a:cubicBezTo>
                  <a:pt x="12221" y="4504"/>
                  <a:pt x="11580" y="4848"/>
                  <a:pt x="11551" y="5086"/>
                </a:cubicBezTo>
                <a:cubicBezTo>
                  <a:pt x="11780" y="5070"/>
                  <a:pt x="12010" y="5019"/>
                  <a:pt x="12238" y="4987"/>
                </a:cubicBezTo>
                <a:cubicBezTo>
                  <a:pt x="11896" y="5054"/>
                  <a:pt x="11014" y="6216"/>
                  <a:pt x="10964" y="6583"/>
                </a:cubicBezTo>
                <a:cubicBezTo>
                  <a:pt x="10736" y="6624"/>
                  <a:pt x="10558" y="6970"/>
                  <a:pt x="10381" y="6977"/>
                </a:cubicBezTo>
                <a:cubicBezTo>
                  <a:pt x="10180" y="6977"/>
                  <a:pt x="10128" y="6767"/>
                  <a:pt x="10029" y="7058"/>
                </a:cubicBezTo>
                <a:cubicBezTo>
                  <a:pt x="9982" y="7191"/>
                  <a:pt x="9499" y="7414"/>
                  <a:pt x="9402" y="7408"/>
                </a:cubicBezTo>
                <a:cubicBezTo>
                  <a:pt x="9414" y="7463"/>
                  <a:pt x="9398" y="7484"/>
                  <a:pt x="9354" y="7470"/>
                </a:cubicBezTo>
                <a:cubicBezTo>
                  <a:pt x="9353" y="7486"/>
                  <a:pt x="9333" y="7546"/>
                  <a:pt x="9329" y="7554"/>
                </a:cubicBezTo>
                <a:cubicBezTo>
                  <a:pt x="9181" y="7675"/>
                  <a:pt x="8893" y="7604"/>
                  <a:pt x="8949" y="7955"/>
                </a:cubicBezTo>
                <a:cubicBezTo>
                  <a:pt x="8986" y="8192"/>
                  <a:pt x="8876" y="8784"/>
                  <a:pt x="8991" y="8987"/>
                </a:cubicBezTo>
                <a:cubicBezTo>
                  <a:pt x="9205" y="9365"/>
                  <a:pt x="9340" y="9782"/>
                  <a:pt x="9892" y="9648"/>
                </a:cubicBezTo>
                <a:cubicBezTo>
                  <a:pt x="10114" y="9595"/>
                  <a:pt x="10749" y="9192"/>
                  <a:pt x="10777" y="8955"/>
                </a:cubicBezTo>
                <a:cubicBezTo>
                  <a:pt x="10817" y="9053"/>
                  <a:pt x="10800" y="9070"/>
                  <a:pt x="10918" y="9140"/>
                </a:cubicBezTo>
                <a:cubicBezTo>
                  <a:pt x="10889" y="9162"/>
                  <a:pt x="10862" y="9182"/>
                  <a:pt x="10829" y="9197"/>
                </a:cubicBezTo>
                <a:cubicBezTo>
                  <a:pt x="11004" y="9640"/>
                  <a:pt x="11181" y="10022"/>
                  <a:pt x="11497" y="10369"/>
                </a:cubicBezTo>
                <a:cubicBezTo>
                  <a:pt x="11390" y="10425"/>
                  <a:pt x="11363" y="10548"/>
                  <a:pt x="11450" y="10649"/>
                </a:cubicBezTo>
                <a:cubicBezTo>
                  <a:pt x="11391" y="10614"/>
                  <a:pt x="11149" y="10769"/>
                  <a:pt x="11098" y="10800"/>
                </a:cubicBezTo>
                <a:cubicBezTo>
                  <a:pt x="10812" y="10969"/>
                  <a:pt x="11257" y="11023"/>
                  <a:pt x="11209" y="11174"/>
                </a:cubicBezTo>
                <a:cubicBezTo>
                  <a:pt x="11154" y="11353"/>
                  <a:pt x="10994" y="11044"/>
                  <a:pt x="11012" y="11359"/>
                </a:cubicBezTo>
                <a:cubicBezTo>
                  <a:pt x="10937" y="11384"/>
                  <a:pt x="10752" y="11439"/>
                  <a:pt x="10683" y="11373"/>
                </a:cubicBezTo>
                <a:cubicBezTo>
                  <a:pt x="10699" y="11309"/>
                  <a:pt x="10743" y="11117"/>
                  <a:pt x="10714" y="11059"/>
                </a:cubicBezTo>
                <a:cubicBezTo>
                  <a:pt x="10772" y="11086"/>
                  <a:pt x="10965" y="11220"/>
                  <a:pt x="10955" y="11230"/>
                </a:cubicBezTo>
                <a:cubicBezTo>
                  <a:pt x="11264" y="10919"/>
                  <a:pt x="10514" y="10683"/>
                  <a:pt x="10674" y="11018"/>
                </a:cubicBezTo>
                <a:cubicBezTo>
                  <a:pt x="10644" y="11008"/>
                  <a:pt x="10613" y="11003"/>
                  <a:pt x="10583" y="11002"/>
                </a:cubicBezTo>
                <a:cubicBezTo>
                  <a:pt x="10613" y="10960"/>
                  <a:pt x="10785" y="10573"/>
                  <a:pt x="10785" y="10566"/>
                </a:cubicBezTo>
                <a:cubicBezTo>
                  <a:pt x="10800" y="10576"/>
                  <a:pt x="10821" y="10590"/>
                  <a:pt x="10853" y="10592"/>
                </a:cubicBezTo>
                <a:cubicBezTo>
                  <a:pt x="10863" y="10592"/>
                  <a:pt x="10848" y="9927"/>
                  <a:pt x="10934" y="9698"/>
                </a:cubicBezTo>
                <a:cubicBezTo>
                  <a:pt x="10675" y="9764"/>
                  <a:pt x="10420" y="9916"/>
                  <a:pt x="10181" y="10042"/>
                </a:cubicBezTo>
                <a:cubicBezTo>
                  <a:pt x="9963" y="10157"/>
                  <a:pt x="9886" y="10826"/>
                  <a:pt x="10149" y="10909"/>
                </a:cubicBezTo>
                <a:cubicBezTo>
                  <a:pt x="10138" y="10964"/>
                  <a:pt x="10090" y="11008"/>
                  <a:pt x="10090" y="11067"/>
                </a:cubicBezTo>
                <a:cubicBezTo>
                  <a:pt x="10053" y="11050"/>
                  <a:pt x="10016" y="11033"/>
                  <a:pt x="9978" y="11019"/>
                </a:cubicBezTo>
                <a:cubicBezTo>
                  <a:pt x="10028" y="11079"/>
                  <a:pt x="10066" y="11359"/>
                  <a:pt x="10163" y="11359"/>
                </a:cubicBezTo>
                <a:cubicBezTo>
                  <a:pt x="10073" y="11359"/>
                  <a:pt x="10093" y="11378"/>
                  <a:pt x="10048" y="11394"/>
                </a:cubicBezTo>
                <a:cubicBezTo>
                  <a:pt x="10043" y="11379"/>
                  <a:pt x="10156" y="11600"/>
                  <a:pt x="10151" y="11616"/>
                </a:cubicBezTo>
                <a:cubicBezTo>
                  <a:pt x="10064" y="11619"/>
                  <a:pt x="9974" y="11681"/>
                  <a:pt x="10004" y="11789"/>
                </a:cubicBezTo>
                <a:cubicBezTo>
                  <a:pt x="9806" y="11773"/>
                  <a:pt x="8782" y="11721"/>
                  <a:pt x="9003" y="12226"/>
                </a:cubicBezTo>
                <a:cubicBezTo>
                  <a:pt x="8695" y="11907"/>
                  <a:pt x="8967" y="11872"/>
                  <a:pt x="8720" y="12293"/>
                </a:cubicBezTo>
                <a:cubicBezTo>
                  <a:pt x="8561" y="12563"/>
                  <a:pt x="8330" y="12770"/>
                  <a:pt x="8088" y="12915"/>
                </a:cubicBezTo>
                <a:lnTo>
                  <a:pt x="8082" y="12908"/>
                </a:lnTo>
                <a:cubicBezTo>
                  <a:pt x="7634" y="12869"/>
                  <a:pt x="7779" y="13179"/>
                  <a:pt x="7606" y="13396"/>
                </a:cubicBezTo>
                <a:cubicBezTo>
                  <a:pt x="7588" y="13419"/>
                  <a:pt x="7002" y="13803"/>
                  <a:pt x="7051" y="13801"/>
                </a:cubicBezTo>
                <a:cubicBezTo>
                  <a:pt x="6841" y="13801"/>
                  <a:pt x="6602" y="13612"/>
                  <a:pt x="6400" y="13559"/>
                </a:cubicBezTo>
                <a:cubicBezTo>
                  <a:pt x="6489" y="14164"/>
                  <a:pt x="6519" y="13881"/>
                  <a:pt x="6154" y="14145"/>
                </a:cubicBezTo>
                <a:cubicBezTo>
                  <a:pt x="5934" y="14026"/>
                  <a:pt x="5898" y="14077"/>
                  <a:pt x="5673" y="14077"/>
                </a:cubicBezTo>
                <a:cubicBezTo>
                  <a:pt x="5381" y="14162"/>
                  <a:pt x="5116" y="14590"/>
                  <a:pt x="5629" y="14617"/>
                </a:cubicBezTo>
                <a:cubicBezTo>
                  <a:pt x="5897" y="14802"/>
                  <a:pt x="6092" y="14655"/>
                  <a:pt x="6255" y="15020"/>
                </a:cubicBezTo>
                <a:cubicBezTo>
                  <a:pt x="6320" y="15168"/>
                  <a:pt x="6390" y="15262"/>
                  <a:pt x="6508" y="15350"/>
                </a:cubicBezTo>
                <a:cubicBezTo>
                  <a:pt x="6728" y="15390"/>
                  <a:pt x="6465" y="16646"/>
                  <a:pt x="6350" y="16730"/>
                </a:cubicBezTo>
                <a:cubicBezTo>
                  <a:pt x="6365" y="16739"/>
                  <a:pt x="5826" y="16663"/>
                  <a:pt x="5785" y="16667"/>
                </a:cubicBezTo>
                <a:cubicBezTo>
                  <a:pt x="5650" y="16689"/>
                  <a:pt x="5391" y="16822"/>
                  <a:pt x="5281" y="16822"/>
                </a:cubicBezTo>
                <a:cubicBezTo>
                  <a:pt x="5108" y="16822"/>
                  <a:pt x="3913" y="16170"/>
                  <a:pt x="3821" y="16687"/>
                </a:cubicBezTo>
                <a:cubicBezTo>
                  <a:pt x="3737" y="16815"/>
                  <a:pt x="3377" y="16828"/>
                  <a:pt x="3449" y="17021"/>
                </a:cubicBezTo>
                <a:cubicBezTo>
                  <a:pt x="3530" y="17238"/>
                  <a:pt x="3616" y="17337"/>
                  <a:pt x="3535" y="17599"/>
                </a:cubicBezTo>
                <a:cubicBezTo>
                  <a:pt x="3600" y="17542"/>
                  <a:pt x="3710" y="17444"/>
                  <a:pt x="3784" y="17425"/>
                </a:cubicBezTo>
                <a:cubicBezTo>
                  <a:pt x="3784" y="17438"/>
                  <a:pt x="3787" y="17450"/>
                  <a:pt x="3789" y="17462"/>
                </a:cubicBezTo>
                <a:cubicBezTo>
                  <a:pt x="3726" y="17490"/>
                  <a:pt x="3651" y="17551"/>
                  <a:pt x="3593" y="17601"/>
                </a:cubicBezTo>
                <a:cubicBezTo>
                  <a:pt x="3653" y="18066"/>
                  <a:pt x="3066" y="19278"/>
                  <a:pt x="3496" y="19389"/>
                </a:cubicBezTo>
                <a:cubicBezTo>
                  <a:pt x="3578" y="19503"/>
                  <a:pt x="3431" y="20005"/>
                  <a:pt x="3411" y="20118"/>
                </a:cubicBezTo>
                <a:cubicBezTo>
                  <a:pt x="3635" y="20121"/>
                  <a:pt x="3877" y="20136"/>
                  <a:pt x="4087" y="20055"/>
                </a:cubicBezTo>
                <a:cubicBezTo>
                  <a:pt x="4100" y="20019"/>
                  <a:pt x="4106" y="19981"/>
                  <a:pt x="4104" y="19942"/>
                </a:cubicBezTo>
                <a:cubicBezTo>
                  <a:pt x="4297" y="19997"/>
                  <a:pt x="4530" y="20799"/>
                  <a:pt x="4764" y="20513"/>
                </a:cubicBezTo>
                <a:cubicBezTo>
                  <a:pt x="4977" y="20254"/>
                  <a:pt x="5179" y="20132"/>
                  <a:pt x="5537" y="20162"/>
                </a:cubicBezTo>
                <a:cubicBezTo>
                  <a:pt x="5614" y="20159"/>
                  <a:pt x="5904" y="20198"/>
                  <a:pt x="5920" y="20206"/>
                </a:cubicBezTo>
                <a:cubicBezTo>
                  <a:pt x="6029" y="20263"/>
                  <a:pt x="6288" y="19747"/>
                  <a:pt x="6500" y="19720"/>
                </a:cubicBezTo>
                <a:cubicBezTo>
                  <a:pt x="6516" y="19542"/>
                  <a:pt x="6994" y="19064"/>
                  <a:pt x="6943" y="19014"/>
                </a:cubicBezTo>
                <a:cubicBezTo>
                  <a:pt x="6523" y="18603"/>
                  <a:pt x="7185" y="18457"/>
                  <a:pt x="7212" y="18069"/>
                </a:cubicBezTo>
                <a:cubicBezTo>
                  <a:pt x="7226" y="17872"/>
                  <a:pt x="8104" y="17676"/>
                  <a:pt x="8191" y="17252"/>
                </a:cubicBezTo>
                <a:cubicBezTo>
                  <a:pt x="7967" y="16762"/>
                  <a:pt x="8592" y="16828"/>
                  <a:pt x="8806" y="16828"/>
                </a:cubicBezTo>
                <a:cubicBezTo>
                  <a:pt x="9295" y="16828"/>
                  <a:pt x="9284" y="17028"/>
                  <a:pt x="9719" y="16681"/>
                </a:cubicBezTo>
                <a:cubicBezTo>
                  <a:pt x="10053" y="16798"/>
                  <a:pt x="10062" y="16395"/>
                  <a:pt x="10290" y="16395"/>
                </a:cubicBezTo>
                <a:cubicBezTo>
                  <a:pt x="10831" y="16420"/>
                  <a:pt x="10690" y="16988"/>
                  <a:pt x="11024" y="17234"/>
                </a:cubicBezTo>
                <a:cubicBezTo>
                  <a:pt x="11260" y="17408"/>
                  <a:pt x="11458" y="17785"/>
                  <a:pt x="11701" y="17900"/>
                </a:cubicBezTo>
                <a:cubicBezTo>
                  <a:pt x="11758" y="17927"/>
                  <a:pt x="12171" y="18115"/>
                  <a:pt x="12175" y="18125"/>
                </a:cubicBezTo>
                <a:cubicBezTo>
                  <a:pt x="12200" y="18189"/>
                  <a:pt x="12697" y="18605"/>
                  <a:pt x="12766" y="18619"/>
                </a:cubicBezTo>
                <a:cubicBezTo>
                  <a:pt x="12961" y="18658"/>
                  <a:pt x="13173" y="19418"/>
                  <a:pt x="12855" y="19436"/>
                </a:cubicBezTo>
                <a:cubicBezTo>
                  <a:pt x="12711" y="19427"/>
                  <a:pt x="12614" y="19631"/>
                  <a:pt x="12536" y="19631"/>
                </a:cubicBezTo>
                <a:cubicBezTo>
                  <a:pt x="12338" y="19631"/>
                  <a:pt x="11750" y="19355"/>
                  <a:pt x="11649" y="19598"/>
                </a:cubicBezTo>
                <a:cubicBezTo>
                  <a:pt x="11548" y="19838"/>
                  <a:pt x="12500" y="20365"/>
                  <a:pt x="12643" y="20365"/>
                </a:cubicBezTo>
                <a:cubicBezTo>
                  <a:pt x="12872" y="20365"/>
                  <a:pt x="12768" y="19773"/>
                  <a:pt x="12861" y="19652"/>
                </a:cubicBezTo>
                <a:cubicBezTo>
                  <a:pt x="12937" y="19784"/>
                  <a:pt x="13907" y="18987"/>
                  <a:pt x="13268" y="18723"/>
                </a:cubicBezTo>
                <a:cubicBezTo>
                  <a:pt x="13262" y="18582"/>
                  <a:pt x="13314" y="18477"/>
                  <a:pt x="13424" y="18409"/>
                </a:cubicBezTo>
                <a:cubicBezTo>
                  <a:pt x="13567" y="18409"/>
                  <a:pt x="13727" y="18623"/>
                  <a:pt x="13787" y="18743"/>
                </a:cubicBezTo>
                <a:cubicBezTo>
                  <a:pt x="14586" y="18482"/>
                  <a:pt x="13011" y="17868"/>
                  <a:pt x="13024" y="17811"/>
                </a:cubicBezTo>
                <a:cubicBezTo>
                  <a:pt x="13147" y="17540"/>
                  <a:pt x="12981" y="17586"/>
                  <a:pt x="12787" y="17586"/>
                </a:cubicBezTo>
                <a:cubicBezTo>
                  <a:pt x="12361" y="17586"/>
                  <a:pt x="12347" y="17113"/>
                  <a:pt x="12152" y="16852"/>
                </a:cubicBezTo>
                <a:cubicBezTo>
                  <a:pt x="11986" y="16631"/>
                  <a:pt x="11693" y="16567"/>
                  <a:pt x="11625" y="16266"/>
                </a:cubicBezTo>
                <a:cubicBezTo>
                  <a:pt x="11495" y="15947"/>
                  <a:pt x="11716" y="15939"/>
                  <a:pt x="11865" y="15798"/>
                </a:cubicBezTo>
                <a:cubicBezTo>
                  <a:pt x="11841" y="15934"/>
                  <a:pt x="11936" y="16125"/>
                  <a:pt x="12008" y="16225"/>
                </a:cubicBezTo>
                <a:cubicBezTo>
                  <a:pt x="12087" y="16161"/>
                  <a:pt x="12165" y="16158"/>
                  <a:pt x="12238" y="16230"/>
                </a:cubicBezTo>
                <a:cubicBezTo>
                  <a:pt x="12254" y="16203"/>
                  <a:pt x="12301" y="16084"/>
                  <a:pt x="12329" y="16084"/>
                </a:cubicBezTo>
                <a:cubicBezTo>
                  <a:pt x="12326" y="16084"/>
                  <a:pt x="12736" y="16816"/>
                  <a:pt x="12978" y="16874"/>
                </a:cubicBezTo>
                <a:cubicBezTo>
                  <a:pt x="13227" y="16935"/>
                  <a:pt x="13439" y="17177"/>
                  <a:pt x="13668" y="17310"/>
                </a:cubicBezTo>
                <a:lnTo>
                  <a:pt x="13669" y="17307"/>
                </a:lnTo>
                <a:cubicBezTo>
                  <a:pt x="13733" y="17355"/>
                  <a:pt x="13798" y="17401"/>
                  <a:pt x="13864" y="17445"/>
                </a:cubicBezTo>
                <a:cubicBezTo>
                  <a:pt x="13864" y="17445"/>
                  <a:pt x="13884" y="17398"/>
                  <a:pt x="13900" y="17364"/>
                </a:cubicBezTo>
                <a:cubicBezTo>
                  <a:pt x="13996" y="17452"/>
                  <a:pt x="14062" y="17548"/>
                  <a:pt x="14179" y="17579"/>
                </a:cubicBezTo>
                <a:cubicBezTo>
                  <a:pt x="14188" y="18042"/>
                  <a:pt x="14082" y="18142"/>
                  <a:pt x="14348" y="18508"/>
                </a:cubicBezTo>
                <a:cubicBezTo>
                  <a:pt x="14118" y="18572"/>
                  <a:pt x="14350" y="18860"/>
                  <a:pt x="14440" y="18766"/>
                </a:cubicBezTo>
                <a:cubicBezTo>
                  <a:pt x="14548" y="18913"/>
                  <a:pt x="14606" y="19070"/>
                  <a:pt x="14601" y="19267"/>
                </a:cubicBezTo>
                <a:cubicBezTo>
                  <a:pt x="14744" y="19281"/>
                  <a:pt x="14884" y="19339"/>
                  <a:pt x="15005" y="19427"/>
                </a:cubicBezTo>
                <a:cubicBezTo>
                  <a:pt x="14917" y="19488"/>
                  <a:pt x="14848" y="19566"/>
                  <a:pt x="14799" y="19661"/>
                </a:cubicBezTo>
                <a:cubicBezTo>
                  <a:pt x="15088" y="19884"/>
                  <a:pt x="14876" y="20093"/>
                  <a:pt x="15189" y="20301"/>
                </a:cubicBezTo>
                <a:cubicBezTo>
                  <a:pt x="15191" y="20250"/>
                  <a:pt x="15226" y="20114"/>
                  <a:pt x="15288" y="20127"/>
                </a:cubicBezTo>
                <a:cubicBezTo>
                  <a:pt x="15355" y="20187"/>
                  <a:pt x="15355" y="20379"/>
                  <a:pt x="15421" y="20470"/>
                </a:cubicBezTo>
                <a:cubicBezTo>
                  <a:pt x="15434" y="20425"/>
                  <a:pt x="15471" y="20268"/>
                  <a:pt x="15516" y="20268"/>
                </a:cubicBezTo>
                <a:cubicBezTo>
                  <a:pt x="15547" y="20268"/>
                  <a:pt x="15717" y="20454"/>
                  <a:pt x="15743" y="20497"/>
                </a:cubicBezTo>
                <a:cubicBezTo>
                  <a:pt x="15738" y="20305"/>
                  <a:pt x="15706" y="20091"/>
                  <a:pt x="15617" y="19924"/>
                </a:cubicBezTo>
                <a:cubicBezTo>
                  <a:pt x="15719" y="19942"/>
                  <a:pt x="15823" y="19903"/>
                  <a:pt x="15832" y="19775"/>
                </a:cubicBezTo>
                <a:cubicBezTo>
                  <a:pt x="15922" y="19798"/>
                  <a:pt x="16115" y="19795"/>
                  <a:pt x="16041" y="19632"/>
                </a:cubicBezTo>
                <a:cubicBezTo>
                  <a:pt x="16106" y="19623"/>
                  <a:pt x="16168" y="19588"/>
                  <a:pt x="16210" y="19533"/>
                </a:cubicBezTo>
                <a:cubicBezTo>
                  <a:pt x="16138" y="19390"/>
                  <a:pt x="15206" y="18490"/>
                  <a:pt x="15434" y="18346"/>
                </a:cubicBezTo>
                <a:cubicBezTo>
                  <a:pt x="15434" y="18538"/>
                  <a:pt x="16064" y="18478"/>
                  <a:pt x="15848" y="18241"/>
                </a:cubicBezTo>
                <a:cubicBezTo>
                  <a:pt x="16147" y="18267"/>
                  <a:pt x="16258" y="18137"/>
                  <a:pt x="16617" y="18242"/>
                </a:cubicBezTo>
                <a:cubicBezTo>
                  <a:pt x="16734" y="18192"/>
                  <a:pt x="16850" y="18068"/>
                  <a:pt x="16906" y="17901"/>
                </a:cubicBezTo>
                <a:cubicBezTo>
                  <a:pt x="16903" y="17828"/>
                  <a:pt x="16902" y="17625"/>
                  <a:pt x="16866" y="17758"/>
                </a:cubicBezTo>
                <a:cubicBezTo>
                  <a:pt x="16932" y="17767"/>
                  <a:pt x="16992" y="17749"/>
                  <a:pt x="17046" y="17705"/>
                </a:cubicBezTo>
                <a:lnTo>
                  <a:pt x="16983" y="17599"/>
                </a:lnTo>
                <a:cubicBezTo>
                  <a:pt x="17041" y="17536"/>
                  <a:pt x="17165" y="17507"/>
                  <a:pt x="17236" y="17493"/>
                </a:cubicBezTo>
                <a:cubicBezTo>
                  <a:pt x="17318" y="17587"/>
                  <a:pt x="17416" y="17601"/>
                  <a:pt x="17530" y="17550"/>
                </a:cubicBezTo>
                <a:cubicBezTo>
                  <a:pt x="17577" y="17423"/>
                  <a:pt x="17512" y="17280"/>
                  <a:pt x="17384" y="17221"/>
                </a:cubicBezTo>
                <a:cubicBezTo>
                  <a:pt x="17687" y="16967"/>
                  <a:pt x="17565" y="16430"/>
                  <a:pt x="17781" y="16125"/>
                </a:cubicBezTo>
                <a:cubicBezTo>
                  <a:pt x="17837" y="16046"/>
                  <a:pt x="18329" y="15957"/>
                  <a:pt x="17971" y="15701"/>
                </a:cubicBezTo>
                <a:cubicBezTo>
                  <a:pt x="18121" y="15585"/>
                  <a:pt x="18165" y="15400"/>
                  <a:pt x="18293" y="15287"/>
                </a:cubicBezTo>
                <a:cubicBezTo>
                  <a:pt x="18372" y="15279"/>
                  <a:pt x="18564" y="15290"/>
                  <a:pt x="18635" y="15243"/>
                </a:cubicBezTo>
                <a:cubicBezTo>
                  <a:pt x="18639" y="15249"/>
                  <a:pt x="18650" y="15264"/>
                  <a:pt x="18652" y="15266"/>
                </a:cubicBezTo>
                <a:cubicBezTo>
                  <a:pt x="18287" y="15517"/>
                  <a:pt x="19128" y="15507"/>
                  <a:pt x="19226" y="15549"/>
                </a:cubicBezTo>
                <a:cubicBezTo>
                  <a:pt x="19228" y="15542"/>
                  <a:pt x="18587" y="15928"/>
                  <a:pt x="18950" y="15928"/>
                </a:cubicBezTo>
                <a:cubicBezTo>
                  <a:pt x="19011" y="15928"/>
                  <a:pt x="19283" y="15953"/>
                  <a:pt x="19298" y="16033"/>
                </a:cubicBezTo>
                <a:cubicBezTo>
                  <a:pt x="19302" y="16103"/>
                  <a:pt x="19240" y="16207"/>
                  <a:pt x="19205" y="16258"/>
                </a:cubicBezTo>
                <a:cubicBezTo>
                  <a:pt x="19386" y="16473"/>
                  <a:pt x="20060" y="16208"/>
                  <a:pt x="20085" y="16168"/>
                </a:cubicBezTo>
                <a:cubicBezTo>
                  <a:pt x="20101" y="16142"/>
                  <a:pt x="20747" y="15587"/>
                  <a:pt x="20176" y="15813"/>
                </a:cubicBezTo>
                <a:cubicBezTo>
                  <a:pt x="19948" y="15902"/>
                  <a:pt x="19869" y="15644"/>
                  <a:pt x="19761" y="15477"/>
                </a:cubicBezTo>
                <a:cubicBezTo>
                  <a:pt x="19950" y="15446"/>
                  <a:pt x="20140" y="15270"/>
                  <a:pt x="20317" y="15219"/>
                </a:cubicBezTo>
                <a:cubicBezTo>
                  <a:pt x="20455" y="15239"/>
                  <a:pt x="21096" y="15033"/>
                  <a:pt x="20948" y="14830"/>
                </a:cubicBezTo>
                <a:cubicBezTo>
                  <a:pt x="21018" y="14787"/>
                  <a:pt x="21111" y="14689"/>
                  <a:pt x="21196" y="14689"/>
                </a:cubicBezTo>
                <a:cubicBezTo>
                  <a:pt x="21540" y="14453"/>
                  <a:pt x="21283" y="14523"/>
                  <a:pt x="21399" y="14198"/>
                </a:cubicBezTo>
                <a:cubicBezTo>
                  <a:pt x="21401" y="14194"/>
                  <a:pt x="21392" y="14218"/>
                  <a:pt x="21399" y="14198"/>
                </a:cubicBezTo>
                <a:close/>
              </a:path>
            </a:pathLst>
          </a:custGeom>
          <a:solidFill>
            <a:schemeClr val="tx1">
              <a:lumMod val="20000"/>
              <a:lumOff val="80000"/>
            </a:schemeClr>
          </a:solidFill>
          <a:ln w="12700" cap="flat">
            <a:noFill/>
            <a:miter lim="400000"/>
          </a:ln>
          <a:effectLst/>
        </p:spPr>
        <p:txBody>
          <a:bodyPr wrap="square" lIns="20097" tIns="20097" rIns="20097" bIns="20097" numCol="1" anchor="ctr">
            <a:noAutofit/>
          </a:bodyPr>
          <a:lstStyle/>
          <a:p>
            <a:pPr>
              <a:defRPr>
                <a:solidFill>
                  <a:srgbClr val="4C4C4C"/>
                </a:solidFill>
              </a:defRPr>
            </a:pPr>
            <a:endParaRPr sz="1899">
              <a:latin typeface="Nunito Sans ExtraLight" pitchFamily="2" charset="77"/>
            </a:endParaRPr>
          </a:p>
        </p:txBody>
      </p:sp>
      <p:sp>
        <p:nvSpPr>
          <p:cNvPr id="65" name="Shape 6495">
            <a:extLst>
              <a:ext uri="{FF2B5EF4-FFF2-40B4-BE49-F238E27FC236}">
                <a16:creationId xmlns:a16="http://schemas.microsoft.com/office/drawing/2014/main" id="{C5B27DC9-4032-844E-B958-C6AED3F77E6E}"/>
              </a:ext>
            </a:extLst>
          </p:cNvPr>
          <p:cNvSpPr/>
          <p:nvPr/>
        </p:nvSpPr>
        <p:spPr>
          <a:xfrm>
            <a:off x="3818957" y="3189706"/>
            <a:ext cx="1628324" cy="1922848"/>
          </a:xfrm>
          <a:custGeom>
            <a:avLst/>
            <a:gdLst/>
            <a:ahLst/>
            <a:cxnLst>
              <a:cxn ang="0">
                <a:pos x="wd2" y="hd2"/>
              </a:cxn>
              <a:cxn ang="5400000">
                <a:pos x="wd2" y="hd2"/>
              </a:cxn>
              <a:cxn ang="10800000">
                <a:pos x="wd2" y="hd2"/>
              </a:cxn>
              <a:cxn ang="16200000">
                <a:pos x="wd2" y="hd2"/>
              </a:cxn>
            </a:cxnLst>
            <a:rect l="0" t="0" r="r" b="b"/>
            <a:pathLst>
              <a:path w="21494" h="21436" extrusionOk="0">
                <a:moveTo>
                  <a:pt x="21150" y="15574"/>
                </a:moveTo>
                <a:cubicBezTo>
                  <a:pt x="21261" y="15717"/>
                  <a:pt x="21093" y="15952"/>
                  <a:pt x="20924" y="15784"/>
                </a:cubicBezTo>
                <a:cubicBezTo>
                  <a:pt x="20982" y="16021"/>
                  <a:pt x="20891" y="16384"/>
                  <a:pt x="20777" y="16596"/>
                </a:cubicBezTo>
                <a:cubicBezTo>
                  <a:pt x="20505" y="17107"/>
                  <a:pt x="20399" y="17680"/>
                  <a:pt x="20142" y="18190"/>
                </a:cubicBezTo>
                <a:cubicBezTo>
                  <a:pt x="20021" y="18451"/>
                  <a:pt x="19582" y="18883"/>
                  <a:pt x="19210" y="18697"/>
                </a:cubicBezTo>
                <a:cubicBezTo>
                  <a:pt x="19055" y="18620"/>
                  <a:pt x="18983" y="18564"/>
                  <a:pt x="18916" y="18429"/>
                </a:cubicBezTo>
                <a:cubicBezTo>
                  <a:pt x="18874" y="18346"/>
                  <a:pt x="18895" y="18081"/>
                  <a:pt x="18885" y="18073"/>
                </a:cubicBezTo>
                <a:cubicBezTo>
                  <a:pt x="18630" y="17743"/>
                  <a:pt x="18882" y="17612"/>
                  <a:pt x="18985" y="17344"/>
                </a:cubicBezTo>
                <a:cubicBezTo>
                  <a:pt x="19114" y="17002"/>
                  <a:pt x="19115" y="16913"/>
                  <a:pt x="19087" y="16545"/>
                </a:cubicBezTo>
                <a:cubicBezTo>
                  <a:pt x="19035" y="16414"/>
                  <a:pt x="19148" y="15981"/>
                  <a:pt x="19273" y="15913"/>
                </a:cubicBezTo>
                <a:cubicBezTo>
                  <a:pt x="19479" y="15800"/>
                  <a:pt x="19740" y="15772"/>
                  <a:pt x="19957" y="15653"/>
                </a:cubicBezTo>
                <a:cubicBezTo>
                  <a:pt x="20082" y="15574"/>
                  <a:pt x="20117" y="15501"/>
                  <a:pt x="20239" y="15478"/>
                </a:cubicBezTo>
                <a:cubicBezTo>
                  <a:pt x="20387" y="15448"/>
                  <a:pt x="20295" y="14983"/>
                  <a:pt x="20473" y="15143"/>
                </a:cubicBezTo>
                <a:cubicBezTo>
                  <a:pt x="20533" y="15027"/>
                  <a:pt x="20661" y="14865"/>
                  <a:pt x="20739" y="14731"/>
                </a:cubicBezTo>
                <a:cubicBezTo>
                  <a:pt x="20722" y="14552"/>
                  <a:pt x="20909" y="14739"/>
                  <a:pt x="20929" y="14819"/>
                </a:cubicBezTo>
                <a:cubicBezTo>
                  <a:pt x="20973" y="14985"/>
                  <a:pt x="21061" y="15461"/>
                  <a:pt x="21150" y="15574"/>
                </a:cubicBezTo>
                <a:cubicBezTo>
                  <a:pt x="21173" y="15603"/>
                  <a:pt x="21138" y="15559"/>
                  <a:pt x="21150" y="15574"/>
                </a:cubicBezTo>
                <a:close/>
                <a:moveTo>
                  <a:pt x="21449" y="7942"/>
                </a:moveTo>
                <a:cubicBezTo>
                  <a:pt x="21344" y="7731"/>
                  <a:pt x="21600" y="7533"/>
                  <a:pt x="21152" y="7539"/>
                </a:cubicBezTo>
                <a:cubicBezTo>
                  <a:pt x="21008" y="7541"/>
                  <a:pt x="20754" y="7739"/>
                  <a:pt x="20526" y="7739"/>
                </a:cubicBezTo>
                <a:cubicBezTo>
                  <a:pt x="20244" y="7739"/>
                  <a:pt x="20016" y="7865"/>
                  <a:pt x="19729" y="7865"/>
                </a:cubicBezTo>
                <a:cubicBezTo>
                  <a:pt x="19565" y="7865"/>
                  <a:pt x="19469" y="8014"/>
                  <a:pt x="19302" y="7993"/>
                </a:cubicBezTo>
                <a:cubicBezTo>
                  <a:pt x="19093" y="7930"/>
                  <a:pt x="19070" y="7669"/>
                  <a:pt x="18908" y="7605"/>
                </a:cubicBezTo>
                <a:cubicBezTo>
                  <a:pt x="19001" y="7551"/>
                  <a:pt x="19025" y="7458"/>
                  <a:pt x="18981" y="7374"/>
                </a:cubicBezTo>
                <a:cubicBezTo>
                  <a:pt x="19062" y="7284"/>
                  <a:pt x="18938" y="7312"/>
                  <a:pt x="18896" y="7232"/>
                </a:cubicBezTo>
                <a:cubicBezTo>
                  <a:pt x="18780" y="7074"/>
                  <a:pt x="18298" y="6560"/>
                  <a:pt x="18034" y="6598"/>
                </a:cubicBezTo>
                <a:cubicBezTo>
                  <a:pt x="17984" y="6467"/>
                  <a:pt x="17855" y="6463"/>
                  <a:pt x="17803" y="6343"/>
                </a:cubicBezTo>
                <a:cubicBezTo>
                  <a:pt x="17753" y="6232"/>
                  <a:pt x="17703" y="5708"/>
                  <a:pt x="17456" y="5708"/>
                </a:cubicBezTo>
                <a:lnTo>
                  <a:pt x="17456" y="5708"/>
                </a:lnTo>
                <a:cubicBezTo>
                  <a:pt x="17148" y="5708"/>
                  <a:pt x="17061" y="5095"/>
                  <a:pt x="17028" y="4927"/>
                </a:cubicBezTo>
                <a:lnTo>
                  <a:pt x="17085" y="4930"/>
                </a:lnTo>
                <a:cubicBezTo>
                  <a:pt x="16985" y="4575"/>
                  <a:pt x="16629" y="4445"/>
                  <a:pt x="16480" y="4141"/>
                </a:cubicBezTo>
                <a:lnTo>
                  <a:pt x="16435" y="4152"/>
                </a:lnTo>
                <a:cubicBezTo>
                  <a:pt x="16428" y="4118"/>
                  <a:pt x="16411" y="4085"/>
                  <a:pt x="16410" y="4050"/>
                </a:cubicBezTo>
                <a:cubicBezTo>
                  <a:pt x="16418" y="4049"/>
                  <a:pt x="16577" y="4040"/>
                  <a:pt x="16577" y="4040"/>
                </a:cubicBezTo>
                <a:cubicBezTo>
                  <a:pt x="16561" y="4019"/>
                  <a:pt x="16373" y="3888"/>
                  <a:pt x="16373" y="3877"/>
                </a:cubicBezTo>
                <a:cubicBezTo>
                  <a:pt x="16140" y="3556"/>
                  <a:pt x="15927" y="3229"/>
                  <a:pt x="15764" y="2884"/>
                </a:cubicBezTo>
                <a:cubicBezTo>
                  <a:pt x="15810" y="2908"/>
                  <a:pt x="15860" y="2921"/>
                  <a:pt x="15913" y="2924"/>
                </a:cubicBezTo>
                <a:cubicBezTo>
                  <a:pt x="16212" y="2508"/>
                  <a:pt x="16034" y="2139"/>
                  <a:pt x="15828" y="1728"/>
                </a:cubicBezTo>
                <a:cubicBezTo>
                  <a:pt x="15663" y="1776"/>
                  <a:pt x="15487" y="1765"/>
                  <a:pt x="15320" y="1792"/>
                </a:cubicBezTo>
                <a:cubicBezTo>
                  <a:pt x="15262" y="1792"/>
                  <a:pt x="15004" y="1673"/>
                  <a:pt x="14939" y="1652"/>
                </a:cubicBezTo>
                <a:cubicBezTo>
                  <a:pt x="14877" y="1646"/>
                  <a:pt x="14703" y="1675"/>
                  <a:pt x="14673" y="1666"/>
                </a:cubicBezTo>
                <a:cubicBezTo>
                  <a:pt x="14649" y="1666"/>
                  <a:pt x="14604" y="1640"/>
                  <a:pt x="14583" y="1631"/>
                </a:cubicBezTo>
                <a:cubicBezTo>
                  <a:pt x="14579" y="1638"/>
                  <a:pt x="14541" y="1746"/>
                  <a:pt x="14548" y="1746"/>
                </a:cubicBezTo>
                <a:cubicBezTo>
                  <a:pt x="14314" y="1775"/>
                  <a:pt x="14213" y="1915"/>
                  <a:pt x="13949" y="1776"/>
                </a:cubicBezTo>
                <a:cubicBezTo>
                  <a:pt x="13737" y="1662"/>
                  <a:pt x="13370" y="1599"/>
                  <a:pt x="13126" y="1666"/>
                </a:cubicBezTo>
                <a:cubicBezTo>
                  <a:pt x="13114" y="1631"/>
                  <a:pt x="12362" y="1325"/>
                  <a:pt x="12311" y="1315"/>
                </a:cubicBezTo>
                <a:cubicBezTo>
                  <a:pt x="12058" y="1263"/>
                  <a:pt x="11585" y="1295"/>
                  <a:pt x="11468" y="1561"/>
                </a:cubicBezTo>
                <a:cubicBezTo>
                  <a:pt x="11405" y="1704"/>
                  <a:pt x="11546" y="1817"/>
                  <a:pt x="11493" y="1940"/>
                </a:cubicBezTo>
                <a:cubicBezTo>
                  <a:pt x="11411" y="2129"/>
                  <a:pt x="10260" y="1753"/>
                  <a:pt x="10229" y="1583"/>
                </a:cubicBezTo>
                <a:cubicBezTo>
                  <a:pt x="10181" y="1321"/>
                  <a:pt x="9285" y="1213"/>
                  <a:pt x="9029" y="1193"/>
                </a:cubicBezTo>
                <a:cubicBezTo>
                  <a:pt x="9018" y="1125"/>
                  <a:pt x="8978" y="1083"/>
                  <a:pt x="8892" y="1075"/>
                </a:cubicBezTo>
                <a:lnTo>
                  <a:pt x="8892" y="1071"/>
                </a:lnTo>
                <a:cubicBezTo>
                  <a:pt x="8848" y="1075"/>
                  <a:pt x="8690" y="1054"/>
                  <a:pt x="8710" y="986"/>
                </a:cubicBezTo>
                <a:cubicBezTo>
                  <a:pt x="8710" y="964"/>
                  <a:pt x="8994" y="767"/>
                  <a:pt x="9016" y="679"/>
                </a:cubicBezTo>
                <a:cubicBezTo>
                  <a:pt x="9056" y="517"/>
                  <a:pt x="8891" y="519"/>
                  <a:pt x="8901" y="450"/>
                </a:cubicBezTo>
                <a:cubicBezTo>
                  <a:pt x="8820" y="389"/>
                  <a:pt x="9205" y="-90"/>
                  <a:pt x="8780" y="124"/>
                </a:cubicBezTo>
                <a:cubicBezTo>
                  <a:pt x="8738" y="-14"/>
                  <a:pt x="7966" y="-25"/>
                  <a:pt x="7786" y="33"/>
                </a:cubicBezTo>
                <a:cubicBezTo>
                  <a:pt x="7755" y="33"/>
                  <a:pt x="7236" y="45"/>
                  <a:pt x="7284" y="112"/>
                </a:cubicBezTo>
                <a:cubicBezTo>
                  <a:pt x="6980" y="-39"/>
                  <a:pt x="6476" y="127"/>
                  <a:pt x="6182" y="191"/>
                </a:cubicBezTo>
                <a:cubicBezTo>
                  <a:pt x="5782" y="191"/>
                  <a:pt x="5357" y="466"/>
                  <a:pt x="4985" y="577"/>
                </a:cubicBezTo>
                <a:cubicBezTo>
                  <a:pt x="4968" y="561"/>
                  <a:pt x="4957" y="544"/>
                  <a:pt x="4950" y="523"/>
                </a:cubicBezTo>
                <a:lnTo>
                  <a:pt x="4918" y="529"/>
                </a:lnTo>
                <a:lnTo>
                  <a:pt x="4905" y="496"/>
                </a:lnTo>
                <a:cubicBezTo>
                  <a:pt x="4737" y="581"/>
                  <a:pt x="4445" y="574"/>
                  <a:pt x="4277" y="480"/>
                </a:cubicBezTo>
                <a:cubicBezTo>
                  <a:pt x="4282" y="423"/>
                  <a:pt x="4286" y="367"/>
                  <a:pt x="4279" y="311"/>
                </a:cubicBezTo>
                <a:cubicBezTo>
                  <a:pt x="3839" y="327"/>
                  <a:pt x="3931" y="706"/>
                  <a:pt x="3692" y="913"/>
                </a:cubicBezTo>
                <a:cubicBezTo>
                  <a:pt x="3463" y="1112"/>
                  <a:pt x="3139" y="1114"/>
                  <a:pt x="2935" y="1363"/>
                </a:cubicBezTo>
                <a:cubicBezTo>
                  <a:pt x="2899" y="1537"/>
                  <a:pt x="2704" y="1647"/>
                  <a:pt x="2717" y="1829"/>
                </a:cubicBezTo>
                <a:cubicBezTo>
                  <a:pt x="2734" y="2071"/>
                  <a:pt x="2718" y="2224"/>
                  <a:pt x="2488" y="2389"/>
                </a:cubicBezTo>
                <a:cubicBezTo>
                  <a:pt x="2217" y="2584"/>
                  <a:pt x="1913" y="2731"/>
                  <a:pt x="1546" y="2719"/>
                </a:cubicBezTo>
                <a:cubicBezTo>
                  <a:pt x="1507" y="2976"/>
                  <a:pt x="1199" y="3017"/>
                  <a:pt x="1132" y="3212"/>
                </a:cubicBezTo>
                <a:cubicBezTo>
                  <a:pt x="1025" y="3521"/>
                  <a:pt x="918" y="3677"/>
                  <a:pt x="641" y="3906"/>
                </a:cubicBezTo>
                <a:lnTo>
                  <a:pt x="670" y="3942"/>
                </a:lnTo>
                <a:cubicBezTo>
                  <a:pt x="508" y="4166"/>
                  <a:pt x="173" y="4557"/>
                  <a:pt x="339" y="4803"/>
                </a:cubicBezTo>
                <a:lnTo>
                  <a:pt x="391" y="4803"/>
                </a:lnTo>
                <a:cubicBezTo>
                  <a:pt x="467" y="4803"/>
                  <a:pt x="416" y="5040"/>
                  <a:pt x="558" y="5026"/>
                </a:cubicBezTo>
                <a:cubicBezTo>
                  <a:pt x="575" y="5060"/>
                  <a:pt x="612" y="5269"/>
                  <a:pt x="543" y="5269"/>
                </a:cubicBezTo>
                <a:lnTo>
                  <a:pt x="456" y="5299"/>
                </a:lnTo>
                <a:cubicBezTo>
                  <a:pt x="764" y="5604"/>
                  <a:pt x="582" y="5896"/>
                  <a:pt x="452" y="6228"/>
                </a:cubicBezTo>
                <a:cubicBezTo>
                  <a:pt x="401" y="6220"/>
                  <a:pt x="345" y="6229"/>
                  <a:pt x="297" y="6251"/>
                </a:cubicBezTo>
                <a:cubicBezTo>
                  <a:pt x="430" y="6424"/>
                  <a:pt x="154" y="6618"/>
                  <a:pt x="0" y="6730"/>
                </a:cubicBezTo>
                <a:cubicBezTo>
                  <a:pt x="249" y="6752"/>
                  <a:pt x="299" y="6978"/>
                  <a:pt x="276" y="7155"/>
                </a:cubicBezTo>
                <a:lnTo>
                  <a:pt x="307" y="7155"/>
                </a:lnTo>
                <a:cubicBezTo>
                  <a:pt x="294" y="7155"/>
                  <a:pt x="281" y="7155"/>
                  <a:pt x="268" y="7155"/>
                </a:cubicBezTo>
                <a:cubicBezTo>
                  <a:pt x="265" y="7167"/>
                  <a:pt x="258" y="7174"/>
                  <a:pt x="247" y="7177"/>
                </a:cubicBezTo>
                <a:cubicBezTo>
                  <a:pt x="206" y="7341"/>
                  <a:pt x="390" y="7647"/>
                  <a:pt x="654" y="7597"/>
                </a:cubicBezTo>
                <a:cubicBezTo>
                  <a:pt x="662" y="7714"/>
                  <a:pt x="780" y="7762"/>
                  <a:pt x="802" y="7878"/>
                </a:cubicBezTo>
                <a:cubicBezTo>
                  <a:pt x="873" y="7889"/>
                  <a:pt x="913" y="7864"/>
                  <a:pt x="946" y="7814"/>
                </a:cubicBezTo>
                <a:cubicBezTo>
                  <a:pt x="1016" y="8004"/>
                  <a:pt x="1264" y="8051"/>
                  <a:pt x="1309" y="8201"/>
                </a:cubicBezTo>
                <a:cubicBezTo>
                  <a:pt x="1426" y="8354"/>
                  <a:pt x="1416" y="8441"/>
                  <a:pt x="1473" y="8622"/>
                </a:cubicBezTo>
                <a:lnTo>
                  <a:pt x="1520" y="8622"/>
                </a:lnTo>
                <a:cubicBezTo>
                  <a:pt x="1569" y="8710"/>
                  <a:pt x="1975" y="9160"/>
                  <a:pt x="2133" y="9105"/>
                </a:cubicBezTo>
                <a:cubicBezTo>
                  <a:pt x="2414" y="9356"/>
                  <a:pt x="2674" y="9574"/>
                  <a:pt x="3086" y="9750"/>
                </a:cubicBezTo>
                <a:cubicBezTo>
                  <a:pt x="3082" y="9812"/>
                  <a:pt x="3079" y="9875"/>
                  <a:pt x="3077" y="9937"/>
                </a:cubicBezTo>
                <a:cubicBezTo>
                  <a:pt x="3152" y="9898"/>
                  <a:pt x="3229" y="9859"/>
                  <a:pt x="3307" y="9824"/>
                </a:cubicBezTo>
                <a:lnTo>
                  <a:pt x="3321" y="9829"/>
                </a:lnTo>
                <a:lnTo>
                  <a:pt x="3322" y="9817"/>
                </a:lnTo>
                <a:cubicBezTo>
                  <a:pt x="3580" y="9701"/>
                  <a:pt x="3830" y="9612"/>
                  <a:pt x="4125" y="9621"/>
                </a:cubicBezTo>
                <a:cubicBezTo>
                  <a:pt x="4261" y="9626"/>
                  <a:pt x="4581" y="9721"/>
                  <a:pt x="4686" y="9617"/>
                </a:cubicBezTo>
                <a:cubicBezTo>
                  <a:pt x="4748" y="9641"/>
                  <a:pt x="4808" y="9667"/>
                  <a:pt x="4866" y="9695"/>
                </a:cubicBezTo>
                <a:cubicBezTo>
                  <a:pt x="5080" y="9574"/>
                  <a:pt x="5871" y="9431"/>
                  <a:pt x="5918" y="9296"/>
                </a:cubicBezTo>
                <a:cubicBezTo>
                  <a:pt x="5972" y="9317"/>
                  <a:pt x="5995" y="9339"/>
                  <a:pt x="6016" y="9264"/>
                </a:cubicBezTo>
                <a:cubicBezTo>
                  <a:pt x="6022" y="9261"/>
                  <a:pt x="6045" y="9250"/>
                  <a:pt x="6080" y="9241"/>
                </a:cubicBezTo>
                <a:cubicBezTo>
                  <a:pt x="6162" y="9312"/>
                  <a:pt x="6375" y="9249"/>
                  <a:pt x="6476" y="9223"/>
                </a:cubicBezTo>
                <a:lnTo>
                  <a:pt x="6476" y="9214"/>
                </a:lnTo>
                <a:cubicBezTo>
                  <a:pt x="7144" y="9195"/>
                  <a:pt x="6984" y="9378"/>
                  <a:pt x="7304" y="9739"/>
                </a:cubicBezTo>
                <a:cubicBezTo>
                  <a:pt x="7475" y="9932"/>
                  <a:pt x="7980" y="9814"/>
                  <a:pt x="8200" y="9773"/>
                </a:cubicBezTo>
                <a:cubicBezTo>
                  <a:pt x="8223" y="9858"/>
                  <a:pt x="8315" y="9945"/>
                  <a:pt x="8426" y="9941"/>
                </a:cubicBezTo>
                <a:cubicBezTo>
                  <a:pt x="8418" y="9986"/>
                  <a:pt x="8482" y="10342"/>
                  <a:pt x="8493" y="10381"/>
                </a:cubicBezTo>
                <a:lnTo>
                  <a:pt x="8473" y="10381"/>
                </a:lnTo>
                <a:cubicBezTo>
                  <a:pt x="8451" y="10590"/>
                  <a:pt x="8231" y="10752"/>
                  <a:pt x="8455" y="10846"/>
                </a:cubicBezTo>
                <a:cubicBezTo>
                  <a:pt x="8424" y="11002"/>
                  <a:pt x="8415" y="11164"/>
                  <a:pt x="8205" y="11187"/>
                </a:cubicBezTo>
                <a:cubicBezTo>
                  <a:pt x="8322" y="11607"/>
                  <a:pt x="8608" y="11836"/>
                  <a:pt x="8916" y="12161"/>
                </a:cubicBezTo>
                <a:cubicBezTo>
                  <a:pt x="8896" y="12195"/>
                  <a:pt x="8883" y="12228"/>
                  <a:pt x="8856" y="12259"/>
                </a:cubicBezTo>
                <a:cubicBezTo>
                  <a:pt x="9007" y="12382"/>
                  <a:pt x="9103" y="12537"/>
                  <a:pt x="9233" y="12666"/>
                </a:cubicBezTo>
                <a:lnTo>
                  <a:pt x="9303" y="12614"/>
                </a:lnTo>
                <a:cubicBezTo>
                  <a:pt x="9334" y="12654"/>
                  <a:pt x="9303" y="12657"/>
                  <a:pt x="9301" y="12701"/>
                </a:cubicBezTo>
                <a:lnTo>
                  <a:pt x="9265" y="12704"/>
                </a:lnTo>
                <a:cubicBezTo>
                  <a:pt x="9269" y="12865"/>
                  <a:pt x="9736" y="13608"/>
                  <a:pt x="9628" y="13713"/>
                </a:cubicBezTo>
                <a:cubicBezTo>
                  <a:pt x="9399" y="13830"/>
                  <a:pt x="9559" y="14066"/>
                  <a:pt x="9672" y="14224"/>
                </a:cubicBezTo>
                <a:cubicBezTo>
                  <a:pt x="9958" y="14623"/>
                  <a:pt x="9535" y="14683"/>
                  <a:pt x="9477" y="14929"/>
                </a:cubicBezTo>
                <a:cubicBezTo>
                  <a:pt x="9422" y="15139"/>
                  <a:pt x="9270" y="15661"/>
                  <a:pt x="9117" y="15801"/>
                </a:cubicBezTo>
                <a:cubicBezTo>
                  <a:pt x="9132" y="15821"/>
                  <a:pt x="9142" y="15843"/>
                  <a:pt x="9148" y="15865"/>
                </a:cubicBezTo>
                <a:lnTo>
                  <a:pt x="9127" y="15871"/>
                </a:lnTo>
                <a:cubicBezTo>
                  <a:pt x="9147" y="15972"/>
                  <a:pt x="9127" y="16088"/>
                  <a:pt x="9127" y="16190"/>
                </a:cubicBezTo>
                <a:lnTo>
                  <a:pt x="9117" y="16197"/>
                </a:lnTo>
                <a:cubicBezTo>
                  <a:pt x="9045" y="16880"/>
                  <a:pt x="10051" y="17437"/>
                  <a:pt x="9956" y="18137"/>
                </a:cubicBezTo>
                <a:cubicBezTo>
                  <a:pt x="9907" y="18501"/>
                  <a:pt x="10103" y="19517"/>
                  <a:pt x="10608" y="19647"/>
                </a:cubicBezTo>
                <a:cubicBezTo>
                  <a:pt x="10711" y="19738"/>
                  <a:pt x="11215" y="20660"/>
                  <a:pt x="11120" y="20764"/>
                </a:cubicBezTo>
                <a:cubicBezTo>
                  <a:pt x="10785" y="20848"/>
                  <a:pt x="11116" y="20987"/>
                  <a:pt x="11144" y="21115"/>
                </a:cubicBezTo>
                <a:cubicBezTo>
                  <a:pt x="10968" y="21510"/>
                  <a:pt x="11967" y="21476"/>
                  <a:pt x="12221" y="21354"/>
                </a:cubicBezTo>
                <a:cubicBezTo>
                  <a:pt x="12519" y="21209"/>
                  <a:pt x="12813" y="21294"/>
                  <a:pt x="13150" y="21319"/>
                </a:cubicBezTo>
                <a:cubicBezTo>
                  <a:pt x="13150" y="21319"/>
                  <a:pt x="13164" y="21264"/>
                  <a:pt x="13165" y="21262"/>
                </a:cubicBezTo>
                <a:cubicBezTo>
                  <a:pt x="13768" y="21285"/>
                  <a:pt x="14233" y="20805"/>
                  <a:pt x="14641" y="20497"/>
                </a:cubicBezTo>
                <a:cubicBezTo>
                  <a:pt x="14854" y="20335"/>
                  <a:pt x="14941" y="20135"/>
                  <a:pt x="15093" y="19938"/>
                </a:cubicBezTo>
                <a:cubicBezTo>
                  <a:pt x="15177" y="19827"/>
                  <a:pt x="15387" y="19750"/>
                  <a:pt x="15454" y="19635"/>
                </a:cubicBezTo>
                <a:cubicBezTo>
                  <a:pt x="15552" y="19463"/>
                  <a:pt x="15640" y="19307"/>
                  <a:pt x="15688" y="19094"/>
                </a:cubicBezTo>
                <a:lnTo>
                  <a:pt x="15697" y="19094"/>
                </a:lnTo>
                <a:cubicBezTo>
                  <a:pt x="15716" y="18996"/>
                  <a:pt x="15724" y="18898"/>
                  <a:pt x="15722" y="18799"/>
                </a:cubicBezTo>
                <a:lnTo>
                  <a:pt x="15659" y="18795"/>
                </a:lnTo>
                <a:cubicBezTo>
                  <a:pt x="15712" y="18611"/>
                  <a:pt x="15867" y="18624"/>
                  <a:pt x="16053" y="18537"/>
                </a:cubicBezTo>
                <a:cubicBezTo>
                  <a:pt x="16371" y="18385"/>
                  <a:pt x="16454" y="18365"/>
                  <a:pt x="16521" y="18076"/>
                </a:cubicBezTo>
                <a:cubicBezTo>
                  <a:pt x="16544" y="17824"/>
                  <a:pt x="16568" y="17645"/>
                  <a:pt x="16480" y="17400"/>
                </a:cubicBezTo>
                <a:cubicBezTo>
                  <a:pt x="16325" y="16977"/>
                  <a:pt x="16456" y="16954"/>
                  <a:pt x="16829" y="16691"/>
                </a:cubicBezTo>
                <a:cubicBezTo>
                  <a:pt x="17122" y="16484"/>
                  <a:pt x="17222" y="16348"/>
                  <a:pt x="17594" y="16182"/>
                </a:cubicBezTo>
                <a:cubicBezTo>
                  <a:pt x="17872" y="16057"/>
                  <a:pt x="18450" y="15634"/>
                  <a:pt x="18274" y="15310"/>
                </a:cubicBezTo>
                <a:cubicBezTo>
                  <a:pt x="18221" y="15211"/>
                  <a:pt x="18282" y="14088"/>
                  <a:pt x="18165" y="14103"/>
                </a:cubicBezTo>
                <a:cubicBezTo>
                  <a:pt x="18141" y="14052"/>
                  <a:pt x="18023" y="13987"/>
                  <a:pt x="17958" y="13987"/>
                </a:cubicBezTo>
                <a:cubicBezTo>
                  <a:pt x="17817" y="13835"/>
                  <a:pt x="17931" y="13505"/>
                  <a:pt x="17832" y="13353"/>
                </a:cubicBezTo>
                <a:cubicBezTo>
                  <a:pt x="17796" y="13301"/>
                  <a:pt x="17878" y="13216"/>
                  <a:pt x="17887" y="13166"/>
                </a:cubicBezTo>
                <a:cubicBezTo>
                  <a:pt x="17915" y="13016"/>
                  <a:pt x="17749" y="13031"/>
                  <a:pt x="17690" y="12936"/>
                </a:cubicBezTo>
                <a:cubicBezTo>
                  <a:pt x="17639" y="12798"/>
                  <a:pt x="17991" y="12016"/>
                  <a:pt x="18132" y="11894"/>
                </a:cubicBezTo>
                <a:cubicBezTo>
                  <a:pt x="18256" y="11861"/>
                  <a:pt x="18334" y="11800"/>
                  <a:pt x="18421" y="11719"/>
                </a:cubicBezTo>
                <a:lnTo>
                  <a:pt x="18439" y="11747"/>
                </a:lnTo>
                <a:cubicBezTo>
                  <a:pt x="18933" y="11102"/>
                  <a:pt x="19669" y="10727"/>
                  <a:pt x="20222" y="10146"/>
                </a:cubicBezTo>
                <a:cubicBezTo>
                  <a:pt x="20487" y="9868"/>
                  <a:pt x="20746" y="9587"/>
                  <a:pt x="20861" y="9234"/>
                </a:cubicBezTo>
                <a:cubicBezTo>
                  <a:pt x="20916" y="9067"/>
                  <a:pt x="21026" y="8908"/>
                  <a:pt x="21115" y="8753"/>
                </a:cubicBezTo>
                <a:cubicBezTo>
                  <a:pt x="21241" y="8534"/>
                  <a:pt x="21257" y="8322"/>
                  <a:pt x="21357" y="8120"/>
                </a:cubicBezTo>
                <a:cubicBezTo>
                  <a:pt x="21369" y="8126"/>
                  <a:pt x="21377" y="8136"/>
                  <a:pt x="21381" y="8150"/>
                </a:cubicBezTo>
                <a:cubicBezTo>
                  <a:pt x="21416" y="8150"/>
                  <a:pt x="21450" y="8149"/>
                  <a:pt x="21485" y="8146"/>
                </a:cubicBezTo>
                <a:cubicBezTo>
                  <a:pt x="21506" y="8073"/>
                  <a:pt x="21488" y="8022"/>
                  <a:pt x="21449" y="7942"/>
                </a:cubicBezTo>
                <a:cubicBezTo>
                  <a:pt x="21441" y="7926"/>
                  <a:pt x="21477" y="7998"/>
                  <a:pt x="21449" y="7942"/>
                </a:cubicBezTo>
                <a:close/>
              </a:path>
            </a:pathLst>
          </a:custGeom>
          <a:solidFill>
            <a:schemeClr val="tx1">
              <a:lumMod val="20000"/>
              <a:lumOff val="80000"/>
            </a:schemeClr>
          </a:solidFill>
          <a:ln w="12700" cap="flat">
            <a:noFill/>
            <a:miter lim="400000"/>
          </a:ln>
          <a:effectLst/>
        </p:spPr>
        <p:txBody>
          <a:bodyPr wrap="square" lIns="20097" tIns="20097" rIns="20097" bIns="20097" numCol="1" anchor="ctr">
            <a:noAutofit/>
          </a:bodyPr>
          <a:lstStyle/>
          <a:p>
            <a:pPr>
              <a:defRPr>
                <a:solidFill>
                  <a:srgbClr val="4C4C4C"/>
                </a:solidFill>
              </a:defRPr>
            </a:pPr>
            <a:endParaRPr sz="1899">
              <a:latin typeface="Nunito Sans ExtraLight" pitchFamily="2" charset="77"/>
            </a:endParaRPr>
          </a:p>
        </p:txBody>
      </p:sp>
      <p:sp>
        <p:nvSpPr>
          <p:cNvPr id="66" name="Shape 6496">
            <a:extLst>
              <a:ext uri="{FF2B5EF4-FFF2-40B4-BE49-F238E27FC236}">
                <a16:creationId xmlns:a16="http://schemas.microsoft.com/office/drawing/2014/main" id="{B89A299B-99CE-AF48-99A8-42405115FBF1}"/>
              </a:ext>
            </a:extLst>
          </p:cNvPr>
          <p:cNvSpPr/>
          <p:nvPr/>
        </p:nvSpPr>
        <p:spPr>
          <a:xfrm>
            <a:off x="995851" y="2110693"/>
            <a:ext cx="3156533" cy="1879032"/>
          </a:xfrm>
          <a:custGeom>
            <a:avLst/>
            <a:gdLst/>
            <a:ahLst/>
            <a:cxnLst>
              <a:cxn ang="0">
                <a:pos x="wd2" y="hd2"/>
              </a:cxn>
              <a:cxn ang="5400000">
                <a:pos x="wd2" y="hd2"/>
              </a:cxn>
              <a:cxn ang="10800000">
                <a:pos x="wd2" y="hd2"/>
              </a:cxn>
              <a:cxn ang="16200000">
                <a:pos x="wd2" y="hd2"/>
              </a:cxn>
            </a:cxnLst>
            <a:rect l="0" t="0" r="r" b="b"/>
            <a:pathLst>
              <a:path w="21446" h="21465" extrusionOk="0">
                <a:moveTo>
                  <a:pt x="13469" y="3580"/>
                </a:moveTo>
                <a:cubicBezTo>
                  <a:pt x="13690" y="3383"/>
                  <a:pt x="13241" y="3198"/>
                  <a:pt x="13219" y="3654"/>
                </a:cubicBezTo>
                <a:cubicBezTo>
                  <a:pt x="13301" y="3647"/>
                  <a:pt x="13395" y="3646"/>
                  <a:pt x="13469" y="3580"/>
                </a:cubicBezTo>
                <a:cubicBezTo>
                  <a:pt x="13488" y="3563"/>
                  <a:pt x="13429" y="3616"/>
                  <a:pt x="13469" y="3580"/>
                </a:cubicBezTo>
                <a:close/>
                <a:moveTo>
                  <a:pt x="11812" y="960"/>
                </a:moveTo>
                <a:cubicBezTo>
                  <a:pt x="11873" y="975"/>
                  <a:pt x="12398" y="1247"/>
                  <a:pt x="12369" y="928"/>
                </a:cubicBezTo>
                <a:cubicBezTo>
                  <a:pt x="12352" y="748"/>
                  <a:pt x="11916" y="805"/>
                  <a:pt x="11875" y="809"/>
                </a:cubicBezTo>
                <a:cubicBezTo>
                  <a:pt x="11884" y="836"/>
                  <a:pt x="11971" y="855"/>
                  <a:pt x="11950" y="900"/>
                </a:cubicBezTo>
                <a:cubicBezTo>
                  <a:pt x="11906" y="934"/>
                  <a:pt x="11860" y="954"/>
                  <a:pt x="11812" y="960"/>
                </a:cubicBezTo>
                <a:cubicBezTo>
                  <a:pt x="11855" y="970"/>
                  <a:pt x="11846" y="935"/>
                  <a:pt x="11812" y="960"/>
                </a:cubicBezTo>
                <a:close/>
                <a:moveTo>
                  <a:pt x="11540" y="1517"/>
                </a:moveTo>
                <a:cubicBezTo>
                  <a:pt x="11523" y="1533"/>
                  <a:pt x="11515" y="1556"/>
                  <a:pt x="11513" y="1586"/>
                </a:cubicBezTo>
                <a:cubicBezTo>
                  <a:pt x="11538" y="1636"/>
                  <a:pt x="11761" y="1589"/>
                  <a:pt x="11799" y="1596"/>
                </a:cubicBezTo>
                <a:cubicBezTo>
                  <a:pt x="11765" y="1635"/>
                  <a:pt x="11679" y="1642"/>
                  <a:pt x="11690" y="1736"/>
                </a:cubicBezTo>
                <a:cubicBezTo>
                  <a:pt x="11831" y="1761"/>
                  <a:pt x="11923" y="1736"/>
                  <a:pt x="12042" y="1625"/>
                </a:cubicBezTo>
                <a:cubicBezTo>
                  <a:pt x="12061" y="1607"/>
                  <a:pt x="12223" y="1391"/>
                  <a:pt x="12222" y="1391"/>
                </a:cubicBezTo>
                <a:cubicBezTo>
                  <a:pt x="12126" y="1354"/>
                  <a:pt x="11952" y="1272"/>
                  <a:pt x="11858" y="1369"/>
                </a:cubicBezTo>
                <a:cubicBezTo>
                  <a:pt x="11884" y="1388"/>
                  <a:pt x="11887" y="1414"/>
                  <a:pt x="11867" y="1446"/>
                </a:cubicBezTo>
                <a:cubicBezTo>
                  <a:pt x="11798" y="1500"/>
                  <a:pt x="11752" y="1289"/>
                  <a:pt x="11704" y="1540"/>
                </a:cubicBezTo>
                <a:cubicBezTo>
                  <a:pt x="11678" y="1531"/>
                  <a:pt x="11511" y="1089"/>
                  <a:pt x="11476" y="1479"/>
                </a:cubicBezTo>
                <a:cubicBezTo>
                  <a:pt x="11501" y="1477"/>
                  <a:pt x="11546" y="1464"/>
                  <a:pt x="11540" y="1517"/>
                </a:cubicBezTo>
                <a:cubicBezTo>
                  <a:pt x="11536" y="1546"/>
                  <a:pt x="11546" y="1464"/>
                  <a:pt x="11540" y="1517"/>
                </a:cubicBezTo>
                <a:close/>
                <a:moveTo>
                  <a:pt x="12343" y="1561"/>
                </a:moveTo>
                <a:cubicBezTo>
                  <a:pt x="12265" y="1570"/>
                  <a:pt x="12133" y="1594"/>
                  <a:pt x="12080" y="1710"/>
                </a:cubicBezTo>
                <a:cubicBezTo>
                  <a:pt x="12161" y="1774"/>
                  <a:pt x="12265" y="1833"/>
                  <a:pt x="12355" y="1780"/>
                </a:cubicBezTo>
                <a:cubicBezTo>
                  <a:pt x="12461" y="1718"/>
                  <a:pt x="12469" y="1547"/>
                  <a:pt x="12343" y="1561"/>
                </a:cubicBezTo>
                <a:cubicBezTo>
                  <a:pt x="12307" y="1565"/>
                  <a:pt x="12374" y="1558"/>
                  <a:pt x="12343" y="1561"/>
                </a:cubicBezTo>
                <a:close/>
                <a:moveTo>
                  <a:pt x="12410" y="1343"/>
                </a:moveTo>
                <a:cubicBezTo>
                  <a:pt x="12467" y="1514"/>
                  <a:pt x="12652" y="1308"/>
                  <a:pt x="12689" y="1408"/>
                </a:cubicBezTo>
                <a:cubicBezTo>
                  <a:pt x="12756" y="1588"/>
                  <a:pt x="12564" y="1588"/>
                  <a:pt x="12560" y="1740"/>
                </a:cubicBezTo>
                <a:cubicBezTo>
                  <a:pt x="12559" y="1806"/>
                  <a:pt x="12970" y="1815"/>
                  <a:pt x="12882" y="1823"/>
                </a:cubicBezTo>
                <a:cubicBezTo>
                  <a:pt x="13030" y="1809"/>
                  <a:pt x="13368" y="1722"/>
                  <a:pt x="13506" y="1791"/>
                </a:cubicBezTo>
                <a:cubicBezTo>
                  <a:pt x="13589" y="1831"/>
                  <a:pt x="13984" y="1801"/>
                  <a:pt x="13919" y="1685"/>
                </a:cubicBezTo>
                <a:cubicBezTo>
                  <a:pt x="13920" y="1684"/>
                  <a:pt x="14003" y="1641"/>
                  <a:pt x="13980" y="1596"/>
                </a:cubicBezTo>
                <a:cubicBezTo>
                  <a:pt x="13771" y="1178"/>
                  <a:pt x="13157" y="1950"/>
                  <a:pt x="12958" y="1442"/>
                </a:cubicBezTo>
                <a:cubicBezTo>
                  <a:pt x="12992" y="1431"/>
                  <a:pt x="13058" y="1449"/>
                  <a:pt x="13081" y="1404"/>
                </a:cubicBezTo>
                <a:cubicBezTo>
                  <a:pt x="12885" y="1396"/>
                  <a:pt x="12527" y="1042"/>
                  <a:pt x="12348" y="1306"/>
                </a:cubicBezTo>
                <a:cubicBezTo>
                  <a:pt x="12378" y="1305"/>
                  <a:pt x="12395" y="1296"/>
                  <a:pt x="12410" y="1343"/>
                </a:cubicBezTo>
                <a:cubicBezTo>
                  <a:pt x="12442" y="1437"/>
                  <a:pt x="12395" y="1296"/>
                  <a:pt x="12410" y="1343"/>
                </a:cubicBezTo>
                <a:close/>
                <a:moveTo>
                  <a:pt x="12979" y="817"/>
                </a:moveTo>
                <a:cubicBezTo>
                  <a:pt x="13039" y="880"/>
                  <a:pt x="13140" y="853"/>
                  <a:pt x="13207" y="852"/>
                </a:cubicBezTo>
                <a:cubicBezTo>
                  <a:pt x="13084" y="883"/>
                  <a:pt x="12938" y="1062"/>
                  <a:pt x="13163" y="1076"/>
                </a:cubicBezTo>
                <a:cubicBezTo>
                  <a:pt x="13377" y="1089"/>
                  <a:pt x="13572" y="1002"/>
                  <a:pt x="13782" y="958"/>
                </a:cubicBezTo>
                <a:cubicBezTo>
                  <a:pt x="13737" y="967"/>
                  <a:pt x="13584" y="986"/>
                  <a:pt x="13559" y="1099"/>
                </a:cubicBezTo>
                <a:cubicBezTo>
                  <a:pt x="13580" y="1003"/>
                  <a:pt x="13857" y="1306"/>
                  <a:pt x="13649" y="1256"/>
                </a:cubicBezTo>
                <a:cubicBezTo>
                  <a:pt x="13603" y="1244"/>
                  <a:pt x="13628" y="1137"/>
                  <a:pt x="13533" y="1140"/>
                </a:cubicBezTo>
                <a:cubicBezTo>
                  <a:pt x="13468" y="1141"/>
                  <a:pt x="13398" y="1300"/>
                  <a:pt x="13427" y="1300"/>
                </a:cubicBezTo>
                <a:cubicBezTo>
                  <a:pt x="13372" y="1300"/>
                  <a:pt x="13151" y="1319"/>
                  <a:pt x="13130" y="1438"/>
                </a:cubicBezTo>
                <a:cubicBezTo>
                  <a:pt x="13122" y="1478"/>
                  <a:pt x="13969" y="1488"/>
                  <a:pt x="13968" y="1499"/>
                </a:cubicBezTo>
                <a:cubicBezTo>
                  <a:pt x="13938" y="1648"/>
                  <a:pt x="14311" y="1463"/>
                  <a:pt x="14398" y="1368"/>
                </a:cubicBezTo>
                <a:cubicBezTo>
                  <a:pt x="14357" y="1353"/>
                  <a:pt x="14292" y="1384"/>
                  <a:pt x="14260" y="1341"/>
                </a:cubicBezTo>
                <a:cubicBezTo>
                  <a:pt x="14328" y="1202"/>
                  <a:pt x="14429" y="1318"/>
                  <a:pt x="14487" y="1150"/>
                </a:cubicBezTo>
                <a:cubicBezTo>
                  <a:pt x="14506" y="1095"/>
                  <a:pt x="14889" y="1042"/>
                  <a:pt x="14959" y="976"/>
                </a:cubicBezTo>
                <a:cubicBezTo>
                  <a:pt x="14946" y="967"/>
                  <a:pt x="14932" y="942"/>
                  <a:pt x="14913" y="938"/>
                </a:cubicBezTo>
                <a:cubicBezTo>
                  <a:pt x="15062" y="776"/>
                  <a:pt x="15306" y="784"/>
                  <a:pt x="15473" y="712"/>
                </a:cubicBezTo>
                <a:cubicBezTo>
                  <a:pt x="15689" y="619"/>
                  <a:pt x="15909" y="518"/>
                  <a:pt x="16130" y="463"/>
                </a:cubicBezTo>
                <a:cubicBezTo>
                  <a:pt x="16193" y="447"/>
                  <a:pt x="16764" y="265"/>
                  <a:pt x="16765" y="236"/>
                </a:cubicBezTo>
                <a:cubicBezTo>
                  <a:pt x="16780" y="-66"/>
                  <a:pt x="13963" y="274"/>
                  <a:pt x="13714" y="383"/>
                </a:cubicBezTo>
                <a:cubicBezTo>
                  <a:pt x="13768" y="359"/>
                  <a:pt x="13968" y="567"/>
                  <a:pt x="14046" y="575"/>
                </a:cubicBezTo>
                <a:cubicBezTo>
                  <a:pt x="14043" y="577"/>
                  <a:pt x="14036" y="582"/>
                  <a:pt x="14032" y="585"/>
                </a:cubicBezTo>
                <a:cubicBezTo>
                  <a:pt x="14084" y="583"/>
                  <a:pt x="14144" y="588"/>
                  <a:pt x="14191" y="615"/>
                </a:cubicBezTo>
                <a:cubicBezTo>
                  <a:pt x="14055" y="618"/>
                  <a:pt x="13967" y="761"/>
                  <a:pt x="13851" y="771"/>
                </a:cubicBezTo>
                <a:cubicBezTo>
                  <a:pt x="13991" y="759"/>
                  <a:pt x="13756" y="604"/>
                  <a:pt x="13742" y="599"/>
                </a:cubicBezTo>
                <a:cubicBezTo>
                  <a:pt x="13560" y="535"/>
                  <a:pt x="13514" y="377"/>
                  <a:pt x="13306" y="485"/>
                </a:cubicBezTo>
                <a:cubicBezTo>
                  <a:pt x="13258" y="510"/>
                  <a:pt x="12851" y="682"/>
                  <a:pt x="12979" y="817"/>
                </a:cubicBezTo>
                <a:cubicBezTo>
                  <a:pt x="13039" y="880"/>
                  <a:pt x="12960" y="797"/>
                  <a:pt x="12979" y="817"/>
                </a:cubicBezTo>
                <a:close/>
                <a:moveTo>
                  <a:pt x="9956" y="1618"/>
                </a:moveTo>
                <a:cubicBezTo>
                  <a:pt x="9927" y="1633"/>
                  <a:pt x="9879" y="1633"/>
                  <a:pt x="9868" y="1692"/>
                </a:cubicBezTo>
                <a:cubicBezTo>
                  <a:pt x="10060" y="1776"/>
                  <a:pt x="10254" y="1701"/>
                  <a:pt x="10449" y="1719"/>
                </a:cubicBezTo>
                <a:cubicBezTo>
                  <a:pt x="10414" y="1846"/>
                  <a:pt x="10163" y="1702"/>
                  <a:pt x="10102" y="1839"/>
                </a:cubicBezTo>
                <a:cubicBezTo>
                  <a:pt x="10212" y="2004"/>
                  <a:pt x="11297" y="1629"/>
                  <a:pt x="11264" y="1523"/>
                </a:cubicBezTo>
                <a:cubicBezTo>
                  <a:pt x="11241" y="1448"/>
                  <a:pt x="11154" y="1519"/>
                  <a:pt x="11121" y="1520"/>
                </a:cubicBezTo>
                <a:cubicBezTo>
                  <a:pt x="11011" y="1524"/>
                  <a:pt x="11109" y="1406"/>
                  <a:pt x="11112" y="1336"/>
                </a:cubicBezTo>
                <a:cubicBezTo>
                  <a:pt x="11026" y="1349"/>
                  <a:pt x="10944" y="1421"/>
                  <a:pt x="10859" y="1426"/>
                </a:cubicBezTo>
                <a:cubicBezTo>
                  <a:pt x="10881" y="1445"/>
                  <a:pt x="10896" y="1473"/>
                  <a:pt x="10906" y="1509"/>
                </a:cubicBezTo>
                <a:cubicBezTo>
                  <a:pt x="10875" y="1530"/>
                  <a:pt x="10842" y="1541"/>
                  <a:pt x="10809" y="1541"/>
                </a:cubicBezTo>
                <a:cubicBezTo>
                  <a:pt x="10841" y="1552"/>
                  <a:pt x="10868" y="1578"/>
                  <a:pt x="10889" y="1621"/>
                </a:cubicBezTo>
                <a:cubicBezTo>
                  <a:pt x="10849" y="1635"/>
                  <a:pt x="10644" y="1653"/>
                  <a:pt x="10590" y="1617"/>
                </a:cubicBezTo>
                <a:cubicBezTo>
                  <a:pt x="10607" y="1602"/>
                  <a:pt x="10622" y="1580"/>
                  <a:pt x="10634" y="1552"/>
                </a:cubicBezTo>
                <a:cubicBezTo>
                  <a:pt x="10580" y="1475"/>
                  <a:pt x="10519" y="1438"/>
                  <a:pt x="10450" y="1441"/>
                </a:cubicBezTo>
                <a:cubicBezTo>
                  <a:pt x="10531" y="1424"/>
                  <a:pt x="10345" y="1416"/>
                  <a:pt x="10317" y="1424"/>
                </a:cubicBezTo>
                <a:cubicBezTo>
                  <a:pt x="10190" y="1463"/>
                  <a:pt x="10078" y="1555"/>
                  <a:pt x="9956" y="1618"/>
                </a:cubicBezTo>
                <a:cubicBezTo>
                  <a:pt x="9927" y="1633"/>
                  <a:pt x="9966" y="1613"/>
                  <a:pt x="9956" y="1618"/>
                </a:cubicBezTo>
                <a:close/>
                <a:moveTo>
                  <a:pt x="9929" y="1543"/>
                </a:moveTo>
                <a:cubicBezTo>
                  <a:pt x="9974" y="1525"/>
                  <a:pt x="10014" y="1494"/>
                  <a:pt x="10050" y="1451"/>
                </a:cubicBezTo>
                <a:cubicBezTo>
                  <a:pt x="10045" y="1424"/>
                  <a:pt x="9794" y="1559"/>
                  <a:pt x="9801" y="1595"/>
                </a:cubicBezTo>
                <a:cubicBezTo>
                  <a:pt x="9845" y="1591"/>
                  <a:pt x="9888" y="1574"/>
                  <a:pt x="9929" y="1543"/>
                </a:cubicBezTo>
                <a:cubicBezTo>
                  <a:pt x="9998" y="1504"/>
                  <a:pt x="9860" y="1583"/>
                  <a:pt x="9929" y="1543"/>
                </a:cubicBezTo>
                <a:close/>
                <a:moveTo>
                  <a:pt x="8458" y="2722"/>
                </a:moveTo>
                <a:cubicBezTo>
                  <a:pt x="8713" y="2649"/>
                  <a:pt x="8960" y="2539"/>
                  <a:pt x="9190" y="2343"/>
                </a:cubicBezTo>
                <a:cubicBezTo>
                  <a:pt x="9189" y="2344"/>
                  <a:pt x="9188" y="2345"/>
                  <a:pt x="9187" y="2346"/>
                </a:cubicBezTo>
                <a:cubicBezTo>
                  <a:pt x="9193" y="2361"/>
                  <a:pt x="9203" y="2377"/>
                  <a:pt x="9208" y="2394"/>
                </a:cubicBezTo>
                <a:cubicBezTo>
                  <a:pt x="9114" y="2398"/>
                  <a:pt x="9036" y="2443"/>
                  <a:pt x="8963" y="2542"/>
                </a:cubicBezTo>
                <a:cubicBezTo>
                  <a:pt x="9074" y="2554"/>
                  <a:pt x="9184" y="2585"/>
                  <a:pt x="9297" y="2599"/>
                </a:cubicBezTo>
                <a:cubicBezTo>
                  <a:pt x="9255" y="2594"/>
                  <a:pt x="8938" y="2715"/>
                  <a:pt x="8936" y="2706"/>
                </a:cubicBezTo>
                <a:cubicBezTo>
                  <a:pt x="8936" y="2741"/>
                  <a:pt x="8942" y="2774"/>
                  <a:pt x="8956" y="2805"/>
                </a:cubicBezTo>
                <a:cubicBezTo>
                  <a:pt x="9103" y="2745"/>
                  <a:pt x="9448" y="2691"/>
                  <a:pt x="9582" y="2849"/>
                </a:cubicBezTo>
                <a:cubicBezTo>
                  <a:pt x="9551" y="2913"/>
                  <a:pt x="8856" y="2882"/>
                  <a:pt x="8862" y="2949"/>
                </a:cubicBezTo>
                <a:cubicBezTo>
                  <a:pt x="8874" y="3177"/>
                  <a:pt x="9180" y="3102"/>
                  <a:pt x="9149" y="3199"/>
                </a:cubicBezTo>
                <a:cubicBezTo>
                  <a:pt x="9065" y="3472"/>
                  <a:pt x="9738" y="3231"/>
                  <a:pt x="9834" y="3203"/>
                </a:cubicBezTo>
                <a:cubicBezTo>
                  <a:pt x="9865" y="3194"/>
                  <a:pt x="10026" y="3043"/>
                  <a:pt x="10058" y="3095"/>
                </a:cubicBezTo>
                <a:cubicBezTo>
                  <a:pt x="10131" y="3210"/>
                  <a:pt x="10234" y="3208"/>
                  <a:pt x="10328" y="3224"/>
                </a:cubicBezTo>
                <a:cubicBezTo>
                  <a:pt x="10400" y="3254"/>
                  <a:pt x="10469" y="3241"/>
                  <a:pt x="10535" y="3183"/>
                </a:cubicBezTo>
                <a:cubicBezTo>
                  <a:pt x="10533" y="3091"/>
                  <a:pt x="10553" y="3026"/>
                  <a:pt x="10596" y="2990"/>
                </a:cubicBezTo>
                <a:cubicBezTo>
                  <a:pt x="10666" y="2990"/>
                  <a:pt x="10750" y="3100"/>
                  <a:pt x="10786" y="2926"/>
                </a:cubicBezTo>
                <a:cubicBezTo>
                  <a:pt x="10764" y="2916"/>
                  <a:pt x="10516" y="2683"/>
                  <a:pt x="10523" y="2679"/>
                </a:cubicBezTo>
                <a:cubicBezTo>
                  <a:pt x="10641" y="2630"/>
                  <a:pt x="10784" y="2190"/>
                  <a:pt x="10609" y="2151"/>
                </a:cubicBezTo>
                <a:cubicBezTo>
                  <a:pt x="10498" y="2126"/>
                  <a:pt x="10454" y="2148"/>
                  <a:pt x="10396" y="2332"/>
                </a:cubicBezTo>
                <a:cubicBezTo>
                  <a:pt x="10338" y="2519"/>
                  <a:pt x="10278" y="2435"/>
                  <a:pt x="10222" y="2522"/>
                </a:cubicBezTo>
                <a:cubicBezTo>
                  <a:pt x="10476" y="2095"/>
                  <a:pt x="10069" y="2345"/>
                  <a:pt x="10009" y="2333"/>
                </a:cubicBezTo>
                <a:cubicBezTo>
                  <a:pt x="10021" y="2307"/>
                  <a:pt x="10032" y="2281"/>
                  <a:pt x="10044" y="2255"/>
                </a:cubicBezTo>
                <a:cubicBezTo>
                  <a:pt x="10057" y="2163"/>
                  <a:pt x="9691" y="2285"/>
                  <a:pt x="9691" y="2285"/>
                </a:cubicBezTo>
                <a:cubicBezTo>
                  <a:pt x="9712" y="2219"/>
                  <a:pt x="9831" y="2217"/>
                  <a:pt x="9823" y="2128"/>
                </a:cubicBezTo>
                <a:cubicBezTo>
                  <a:pt x="9715" y="2115"/>
                  <a:pt x="9720" y="1894"/>
                  <a:pt x="9581" y="1939"/>
                </a:cubicBezTo>
                <a:cubicBezTo>
                  <a:pt x="9442" y="1983"/>
                  <a:pt x="9346" y="1886"/>
                  <a:pt x="9211" y="1897"/>
                </a:cubicBezTo>
                <a:cubicBezTo>
                  <a:pt x="9072" y="1909"/>
                  <a:pt x="8936" y="1863"/>
                  <a:pt x="8874" y="2049"/>
                </a:cubicBezTo>
                <a:cubicBezTo>
                  <a:pt x="8829" y="2186"/>
                  <a:pt x="8709" y="2205"/>
                  <a:pt x="8630" y="2247"/>
                </a:cubicBezTo>
                <a:cubicBezTo>
                  <a:pt x="8639" y="2268"/>
                  <a:pt x="8634" y="2283"/>
                  <a:pt x="8637" y="2305"/>
                </a:cubicBezTo>
                <a:cubicBezTo>
                  <a:pt x="8541" y="2315"/>
                  <a:pt x="8399" y="2404"/>
                  <a:pt x="8326" y="2501"/>
                </a:cubicBezTo>
                <a:cubicBezTo>
                  <a:pt x="8414" y="2519"/>
                  <a:pt x="8476" y="2553"/>
                  <a:pt x="8458" y="2722"/>
                </a:cubicBezTo>
                <a:cubicBezTo>
                  <a:pt x="8561" y="2693"/>
                  <a:pt x="8476" y="2553"/>
                  <a:pt x="8458" y="2722"/>
                </a:cubicBezTo>
                <a:close/>
                <a:moveTo>
                  <a:pt x="10788" y="2920"/>
                </a:moveTo>
                <a:cubicBezTo>
                  <a:pt x="10788" y="2922"/>
                  <a:pt x="10787" y="2924"/>
                  <a:pt x="10786" y="2926"/>
                </a:cubicBezTo>
                <a:cubicBezTo>
                  <a:pt x="10787" y="2926"/>
                  <a:pt x="10788" y="2927"/>
                  <a:pt x="10788" y="2927"/>
                </a:cubicBezTo>
                <a:lnTo>
                  <a:pt x="10788" y="2920"/>
                </a:lnTo>
                <a:cubicBezTo>
                  <a:pt x="10788" y="2922"/>
                  <a:pt x="10788" y="2920"/>
                  <a:pt x="10788" y="2920"/>
                </a:cubicBezTo>
                <a:close/>
                <a:moveTo>
                  <a:pt x="14845" y="3703"/>
                </a:moveTo>
                <a:cubicBezTo>
                  <a:pt x="14830" y="3644"/>
                  <a:pt x="14818" y="3583"/>
                  <a:pt x="14809" y="3521"/>
                </a:cubicBezTo>
                <a:cubicBezTo>
                  <a:pt x="14759" y="3396"/>
                  <a:pt x="14636" y="3491"/>
                  <a:pt x="14569" y="3423"/>
                </a:cubicBezTo>
                <a:cubicBezTo>
                  <a:pt x="14417" y="3268"/>
                  <a:pt x="14634" y="3177"/>
                  <a:pt x="14687" y="3172"/>
                </a:cubicBezTo>
                <a:cubicBezTo>
                  <a:pt x="14685" y="3065"/>
                  <a:pt x="14562" y="3082"/>
                  <a:pt x="14562" y="3077"/>
                </a:cubicBezTo>
                <a:cubicBezTo>
                  <a:pt x="14566" y="2987"/>
                  <a:pt x="14661" y="3020"/>
                  <a:pt x="14691" y="3017"/>
                </a:cubicBezTo>
                <a:cubicBezTo>
                  <a:pt x="14715" y="2752"/>
                  <a:pt x="14458" y="2797"/>
                  <a:pt x="14398" y="2674"/>
                </a:cubicBezTo>
                <a:cubicBezTo>
                  <a:pt x="14297" y="2466"/>
                  <a:pt x="14274" y="2638"/>
                  <a:pt x="14138" y="2603"/>
                </a:cubicBezTo>
                <a:cubicBezTo>
                  <a:pt x="14105" y="2594"/>
                  <a:pt x="14091" y="2278"/>
                  <a:pt x="13930" y="2278"/>
                </a:cubicBezTo>
                <a:cubicBezTo>
                  <a:pt x="14160" y="2286"/>
                  <a:pt x="13539" y="1693"/>
                  <a:pt x="13605" y="2213"/>
                </a:cubicBezTo>
                <a:cubicBezTo>
                  <a:pt x="13613" y="2280"/>
                  <a:pt x="13730" y="2294"/>
                  <a:pt x="13757" y="2284"/>
                </a:cubicBezTo>
                <a:cubicBezTo>
                  <a:pt x="13706" y="2303"/>
                  <a:pt x="13443" y="2317"/>
                  <a:pt x="13420" y="2417"/>
                </a:cubicBezTo>
                <a:cubicBezTo>
                  <a:pt x="13454" y="2272"/>
                  <a:pt x="13709" y="1960"/>
                  <a:pt x="13401" y="2025"/>
                </a:cubicBezTo>
                <a:cubicBezTo>
                  <a:pt x="13347" y="2036"/>
                  <a:pt x="12807" y="2150"/>
                  <a:pt x="12973" y="2372"/>
                </a:cubicBezTo>
                <a:cubicBezTo>
                  <a:pt x="12938" y="2360"/>
                  <a:pt x="12807" y="2406"/>
                  <a:pt x="12832" y="2524"/>
                </a:cubicBezTo>
                <a:cubicBezTo>
                  <a:pt x="12710" y="2551"/>
                  <a:pt x="12996" y="2011"/>
                  <a:pt x="13152" y="2009"/>
                </a:cubicBezTo>
                <a:cubicBezTo>
                  <a:pt x="12916" y="2012"/>
                  <a:pt x="12718" y="2051"/>
                  <a:pt x="12507" y="2247"/>
                </a:cubicBezTo>
                <a:cubicBezTo>
                  <a:pt x="12356" y="2388"/>
                  <a:pt x="12233" y="2628"/>
                  <a:pt x="12496" y="2640"/>
                </a:cubicBezTo>
                <a:cubicBezTo>
                  <a:pt x="12501" y="2651"/>
                  <a:pt x="12507" y="2672"/>
                  <a:pt x="12508" y="2684"/>
                </a:cubicBezTo>
                <a:cubicBezTo>
                  <a:pt x="12039" y="2720"/>
                  <a:pt x="12531" y="2917"/>
                  <a:pt x="12735" y="2949"/>
                </a:cubicBezTo>
                <a:cubicBezTo>
                  <a:pt x="12874" y="2971"/>
                  <a:pt x="13393" y="3167"/>
                  <a:pt x="13399" y="2806"/>
                </a:cubicBezTo>
                <a:cubicBezTo>
                  <a:pt x="13466" y="2814"/>
                  <a:pt x="13468" y="2945"/>
                  <a:pt x="13483" y="3002"/>
                </a:cubicBezTo>
                <a:cubicBezTo>
                  <a:pt x="13510" y="2983"/>
                  <a:pt x="13523" y="2978"/>
                  <a:pt x="13552" y="3004"/>
                </a:cubicBezTo>
                <a:cubicBezTo>
                  <a:pt x="13544" y="3015"/>
                  <a:pt x="13540" y="3024"/>
                  <a:pt x="13526" y="3022"/>
                </a:cubicBezTo>
                <a:cubicBezTo>
                  <a:pt x="13583" y="3103"/>
                  <a:pt x="13975" y="3558"/>
                  <a:pt x="13787" y="3676"/>
                </a:cubicBezTo>
                <a:cubicBezTo>
                  <a:pt x="13689" y="3737"/>
                  <a:pt x="13620" y="3857"/>
                  <a:pt x="13513" y="3899"/>
                </a:cubicBezTo>
                <a:cubicBezTo>
                  <a:pt x="13386" y="3949"/>
                  <a:pt x="13559" y="4129"/>
                  <a:pt x="13451" y="4130"/>
                </a:cubicBezTo>
                <a:cubicBezTo>
                  <a:pt x="13251" y="4132"/>
                  <a:pt x="13070" y="4129"/>
                  <a:pt x="12906" y="4244"/>
                </a:cubicBezTo>
                <a:cubicBezTo>
                  <a:pt x="12617" y="4449"/>
                  <a:pt x="13323" y="4431"/>
                  <a:pt x="13292" y="4325"/>
                </a:cubicBezTo>
                <a:cubicBezTo>
                  <a:pt x="13296" y="4354"/>
                  <a:pt x="13301" y="4384"/>
                  <a:pt x="13305" y="4414"/>
                </a:cubicBezTo>
                <a:cubicBezTo>
                  <a:pt x="13334" y="4386"/>
                  <a:pt x="13513" y="4535"/>
                  <a:pt x="13543" y="4612"/>
                </a:cubicBezTo>
                <a:cubicBezTo>
                  <a:pt x="13561" y="4658"/>
                  <a:pt x="13446" y="4615"/>
                  <a:pt x="13484" y="4762"/>
                </a:cubicBezTo>
                <a:cubicBezTo>
                  <a:pt x="13504" y="4844"/>
                  <a:pt x="13682" y="4932"/>
                  <a:pt x="13705" y="4822"/>
                </a:cubicBezTo>
                <a:cubicBezTo>
                  <a:pt x="13671" y="4983"/>
                  <a:pt x="13904" y="5050"/>
                  <a:pt x="13968" y="5073"/>
                </a:cubicBezTo>
                <a:cubicBezTo>
                  <a:pt x="14189" y="5151"/>
                  <a:pt x="13892" y="4680"/>
                  <a:pt x="13879" y="4622"/>
                </a:cubicBezTo>
                <a:cubicBezTo>
                  <a:pt x="14050" y="4744"/>
                  <a:pt x="14339" y="5017"/>
                  <a:pt x="14391" y="4535"/>
                </a:cubicBezTo>
                <a:cubicBezTo>
                  <a:pt x="14398" y="4469"/>
                  <a:pt x="14359" y="4290"/>
                  <a:pt x="14325" y="4275"/>
                </a:cubicBezTo>
                <a:cubicBezTo>
                  <a:pt x="14117" y="4185"/>
                  <a:pt x="14320" y="4031"/>
                  <a:pt x="14265" y="3892"/>
                </a:cubicBezTo>
                <a:cubicBezTo>
                  <a:pt x="14331" y="3906"/>
                  <a:pt x="14429" y="3807"/>
                  <a:pt x="14451" y="3995"/>
                </a:cubicBezTo>
                <a:cubicBezTo>
                  <a:pt x="14473" y="3993"/>
                  <a:pt x="14497" y="3999"/>
                  <a:pt x="14519" y="4006"/>
                </a:cubicBezTo>
                <a:cubicBezTo>
                  <a:pt x="14394" y="4217"/>
                  <a:pt x="14802" y="4398"/>
                  <a:pt x="14726" y="4048"/>
                </a:cubicBezTo>
                <a:cubicBezTo>
                  <a:pt x="14755" y="4180"/>
                  <a:pt x="14950" y="3962"/>
                  <a:pt x="14989" y="3922"/>
                </a:cubicBezTo>
                <a:cubicBezTo>
                  <a:pt x="15173" y="3728"/>
                  <a:pt x="14884" y="3767"/>
                  <a:pt x="14845" y="3703"/>
                </a:cubicBezTo>
                <a:cubicBezTo>
                  <a:pt x="14822" y="3666"/>
                  <a:pt x="14895" y="3785"/>
                  <a:pt x="14845" y="3703"/>
                </a:cubicBezTo>
                <a:close/>
                <a:moveTo>
                  <a:pt x="14709" y="9160"/>
                </a:moveTo>
                <a:cubicBezTo>
                  <a:pt x="14617" y="9033"/>
                  <a:pt x="14757" y="8993"/>
                  <a:pt x="14735" y="8951"/>
                </a:cubicBezTo>
                <a:cubicBezTo>
                  <a:pt x="14705" y="8936"/>
                  <a:pt x="14678" y="8912"/>
                  <a:pt x="14654" y="8877"/>
                </a:cubicBezTo>
                <a:cubicBezTo>
                  <a:pt x="14645" y="8834"/>
                  <a:pt x="14712" y="8712"/>
                  <a:pt x="14720" y="8737"/>
                </a:cubicBezTo>
                <a:cubicBezTo>
                  <a:pt x="14673" y="8602"/>
                  <a:pt x="14427" y="8759"/>
                  <a:pt x="14423" y="8631"/>
                </a:cubicBezTo>
                <a:cubicBezTo>
                  <a:pt x="14420" y="8551"/>
                  <a:pt x="14494" y="8592"/>
                  <a:pt x="14491" y="8520"/>
                </a:cubicBezTo>
                <a:cubicBezTo>
                  <a:pt x="14489" y="8427"/>
                  <a:pt x="14265" y="8564"/>
                  <a:pt x="14263" y="8596"/>
                </a:cubicBezTo>
                <a:cubicBezTo>
                  <a:pt x="14276" y="8366"/>
                  <a:pt x="14607" y="8284"/>
                  <a:pt x="14588" y="8067"/>
                </a:cubicBezTo>
                <a:cubicBezTo>
                  <a:pt x="14565" y="8063"/>
                  <a:pt x="14543" y="8064"/>
                  <a:pt x="14521" y="8070"/>
                </a:cubicBezTo>
                <a:cubicBezTo>
                  <a:pt x="14776" y="7847"/>
                  <a:pt x="14659" y="7551"/>
                  <a:pt x="14538" y="7316"/>
                </a:cubicBezTo>
                <a:cubicBezTo>
                  <a:pt x="14743" y="7252"/>
                  <a:pt x="14251" y="6972"/>
                  <a:pt x="14256" y="6975"/>
                </a:cubicBezTo>
                <a:cubicBezTo>
                  <a:pt x="14276" y="6839"/>
                  <a:pt x="14185" y="6792"/>
                  <a:pt x="14146" y="6708"/>
                </a:cubicBezTo>
                <a:cubicBezTo>
                  <a:pt x="14293" y="6548"/>
                  <a:pt x="14221" y="6508"/>
                  <a:pt x="14189" y="6241"/>
                </a:cubicBezTo>
                <a:cubicBezTo>
                  <a:pt x="14155" y="6035"/>
                  <a:pt x="14161" y="5747"/>
                  <a:pt x="14078" y="5572"/>
                </a:cubicBezTo>
                <a:cubicBezTo>
                  <a:pt x="14009" y="5430"/>
                  <a:pt x="13720" y="5958"/>
                  <a:pt x="13655" y="6014"/>
                </a:cubicBezTo>
                <a:cubicBezTo>
                  <a:pt x="13467" y="6177"/>
                  <a:pt x="13538" y="5901"/>
                  <a:pt x="13365" y="5914"/>
                </a:cubicBezTo>
                <a:cubicBezTo>
                  <a:pt x="13393" y="5777"/>
                  <a:pt x="13582" y="5311"/>
                  <a:pt x="13382" y="5311"/>
                </a:cubicBezTo>
                <a:cubicBezTo>
                  <a:pt x="13337" y="5205"/>
                  <a:pt x="13181" y="4950"/>
                  <a:pt x="13074" y="4950"/>
                </a:cubicBezTo>
                <a:cubicBezTo>
                  <a:pt x="12932" y="4950"/>
                  <a:pt x="12559" y="4824"/>
                  <a:pt x="12498" y="5066"/>
                </a:cubicBezTo>
                <a:cubicBezTo>
                  <a:pt x="12436" y="5312"/>
                  <a:pt x="12366" y="5348"/>
                  <a:pt x="12232" y="5505"/>
                </a:cubicBezTo>
                <a:cubicBezTo>
                  <a:pt x="12278" y="5508"/>
                  <a:pt x="12342" y="5589"/>
                  <a:pt x="12376" y="5589"/>
                </a:cubicBezTo>
                <a:cubicBezTo>
                  <a:pt x="12386" y="5589"/>
                  <a:pt x="12082" y="5973"/>
                  <a:pt x="12079" y="5992"/>
                </a:cubicBezTo>
                <a:cubicBezTo>
                  <a:pt x="12065" y="6088"/>
                  <a:pt x="12148" y="6179"/>
                  <a:pt x="12170" y="6244"/>
                </a:cubicBezTo>
                <a:cubicBezTo>
                  <a:pt x="12230" y="6420"/>
                  <a:pt x="12126" y="6638"/>
                  <a:pt x="12052" y="6744"/>
                </a:cubicBezTo>
                <a:cubicBezTo>
                  <a:pt x="11913" y="6941"/>
                  <a:pt x="11636" y="6905"/>
                  <a:pt x="11529" y="7118"/>
                </a:cubicBezTo>
                <a:cubicBezTo>
                  <a:pt x="11488" y="7201"/>
                  <a:pt x="11474" y="7527"/>
                  <a:pt x="11462" y="7635"/>
                </a:cubicBezTo>
                <a:cubicBezTo>
                  <a:pt x="11441" y="7818"/>
                  <a:pt x="11395" y="7837"/>
                  <a:pt x="11343" y="7990"/>
                </a:cubicBezTo>
                <a:cubicBezTo>
                  <a:pt x="11289" y="7895"/>
                  <a:pt x="11238" y="8061"/>
                  <a:pt x="11184" y="8067"/>
                </a:cubicBezTo>
                <a:cubicBezTo>
                  <a:pt x="11057" y="8067"/>
                  <a:pt x="11066" y="7164"/>
                  <a:pt x="11251" y="7164"/>
                </a:cubicBezTo>
                <a:lnTo>
                  <a:pt x="11266" y="7164"/>
                </a:lnTo>
                <a:lnTo>
                  <a:pt x="11283" y="7016"/>
                </a:lnTo>
                <a:cubicBezTo>
                  <a:pt x="11094" y="6863"/>
                  <a:pt x="10853" y="6979"/>
                  <a:pt x="10681" y="6719"/>
                </a:cubicBezTo>
                <a:cubicBezTo>
                  <a:pt x="10511" y="6465"/>
                  <a:pt x="10435" y="6343"/>
                  <a:pt x="10189" y="6421"/>
                </a:cubicBezTo>
                <a:lnTo>
                  <a:pt x="10260" y="5959"/>
                </a:lnTo>
                <a:lnTo>
                  <a:pt x="10095" y="5959"/>
                </a:lnTo>
                <a:cubicBezTo>
                  <a:pt x="10151" y="5660"/>
                  <a:pt x="10333" y="5500"/>
                  <a:pt x="10477" y="5337"/>
                </a:cubicBezTo>
                <a:cubicBezTo>
                  <a:pt x="10523" y="5292"/>
                  <a:pt x="10894" y="4998"/>
                  <a:pt x="10896" y="4941"/>
                </a:cubicBezTo>
                <a:cubicBezTo>
                  <a:pt x="10959" y="4928"/>
                  <a:pt x="11163" y="4901"/>
                  <a:pt x="11122" y="4713"/>
                </a:cubicBezTo>
                <a:cubicBezTo>
                  <a:pt x="11227" y="4726"/>
                  <a:pt x="11873" y="4466"/>
                  <a:pt x="11831" y="4221"/>
                </a:cubicBezTo>
                <a:cubicBezTo>
                  <a:pt x="11864" y="4202"/>
                  <a:pt x="11899" y="4192"/>
                  <a:pt x="11931" y="4166"/>
                </a:cubicBezTo>
                <a:cubicBezTo>
                  <a:pt x="11885" y="4242"/>
                  <a:pt x="11632" y="4531"/>
                  <a:pt x="11610" y="4604"/>
                </a:cubicBezTo>
                <a:cubicBezTo>
                  <a:pt x="11666" y="4619"/>
                  <a:pt x="11731" y="4582"/>
                  <a:pt x="11790" y="4586"/>
                </a:cubicBezTo>
                <a:cubicBezTo>
                  <a:pt x="11799" y="4643"/>
                  <a:pt x="11765" y="4669"/>
                  <a:pt x="11764" y="4719"/>
                </a:cubicBezTo>
                <a:cubicBezTo>
                  <a:pt x="11882" y="4755"/>
                  <a:pt x="12100" y="4427"/>
                  <a:pt x="12194" y="4524"/>
                </a:cubicBezTo>
                <a:cubicBezTo>
                  <a:pt x="12189" y="4519"/>
                  <a:pt x="12517" y="4797"/>
                  <a:pt x="12468" y="4545"/>
                </a:cubicBezTo>
                <a:cubicBezTo>
                  <a:pt x="12458" y="4494"/>
                  <a:pt x="12362" y="4471"/>
                  <a:pt x="12346" y="4511"/>
                </a:cubicBezTo>
                <a:cubicBezTo>
                  <a:pt x="12443" y="4268"/>
                  <a:pt x="12176" y="4299"/>
                  <a:pt x="12160" y="4129"/>
                </a:cubicBezTo>
                <a:cubicBezTo>
                  <a:pt x="12135" y="4142"/>
                  <a:pt x="12110" y="4155"/>
                  <a:pt x="12086" y="4168"/>
                </a:cubicBezTo>
                <a:cubicBezTo>
                  <a:pt x="12088" y="4122"/>
                  <a:pt x="12095" y="4077"/>
                  <a:pt x="12108" y="4035"/>
                </a:cubicBezTo>
                <a:cubicBezTo>
                  <a:pt x="12091" y="4025"/>
                  <a:pt x="12073" y="4026"/>
                  <a:pt x="12055" y="4033"/>
                </a:cubicBezTo>
                <a:cubicBezTo>
                  <a:pt x="12064" y="4008"/>
                  <a:pt x="12065" y="3982"/>
                  <a:pt x="12058" y="3954"/>
                </a:cubicBezTo>
                <a:cubicBezTo>
                  <a:pt x="12123" y="3937"/>
                  <a:pt x="12112" y="4012"/>
                  <a:pt x="12172" y="4034"/>
                </a:cubicBezTo>
                <a:cubicBezTo>
                  <a:pt x="12209" y="4153"/>
                  <a:pt x="12359" y="4254"/>
                  <a:pt x="12315" y="4049"/>
                </a:cubicBezTo>
                <a:cubicBezTo>
                  <a:pt x="12331" y="4043"/>
                  <a:pt x="12343" y="4028"/>
                  <a:pt x="12350" y="4004"/>
                </a:cubicBezTo>
                <a:cubicBezTo>
                  <a:pt x="12448" y="4054"/>
                  <a:pt x="12868" y="3767"/>
                  <a:pt x="12772" y="3542"/>
                </a:cubicBezTo>
                <a:lnTo>
                  <a:pt x="12798" y="3528"/>
                </a:lnTo>
                <a:cubicBezTo>
                  <a:pt x="12795" y="3501"/>
                  <a:pt x="12790" y="3469"/>
                  <a:pt x="12782" y="3445"/>
                </a:cubicBezTo>
                <a:cubicBezTo>
                  <a:pt x="12837" y="3455"/>
                  <a:pt x="12967" y="3438"/>
                  <a:pt x="12958" y="3307"/>
                </a:cubicBezTo>
                <a:cubicBezTo>
                  <a:pt x="12957" y="3286"/>
                  <a:pt x="12912" y="3085"/>
                  <a:pt x="12912" y="3127"/>
                </a:cubicBezTo>
                <a:cubicBezTo>
                  <a:pt x="12847" y="2986"/>
                  <a:pt x="12622" y="2945"/>
                  <a:pt x="12525" y="3031"/>
                </a:cubicBezTo>
                <a:cubicBezTo>
                  <a:pt x="12489" y="3062"/>
                  <a:pt x="12429" y="3255"/>
                  <a:pt x="12447" y="3255"/>
                </a:cubicBezTo>
                <a:cubicBezTo>
                  <a:pt x="12403" y="3310"/>
                  <a:pt x="12326" y="3392"/>
                  <a:pt x="12276" y="3456"/>
                </a:cubicBezTo>
                <a:cubicBezTo>
                  <a:pt x="12218" y="3448"/>
                  <a:pt x="12089" y="3491"/>
                  <a:pt x="12104" y="3620"/>
                </a:cubicBezTo>
                <a:cubicBezTo>
                  <a:pt x="11972" y="3754"/>
                  <a:pt x="12055" y="3511"/>
                  <a:pt x="12053" y="3550"/>
                </a:cubicBezTo>
                <a:cubicBezTo>
                  <a:pt x="12194" y="3550"/>
                  <a:pt x="12175" y="2901"/>
                  <a:pt x="11880" y="3290"/>
                </a:cubicBezTo>
                <a:cubicBezTo>
                  <a:pt x="11885" y="3266"/>
                  <a:pt x="11886" y="3242"/>
                  <a:pt x="11883" y="3218"/>
                </a:cubicBezTo>
                <a:cubicBezTo>
                  <a:pt x="11937" y="3192"/>
                  <a:pt x="11962" y="3160"/>
                  <a:pt x="11962" y="3116"/>
                </a:cubicBezTo>
                <a:cubicBezTo>
                  <a:pt x="11960" y="3072"/>
                  <a:pt x="11940" y="3025"/>
                  <a:pt x="11890" y="3023"/>
                </a:cubicBezTo>
                <a:cubicBezTo>
                  <a:pt x="11973" y="2946"/>
                  <a:pt x="11928" y="2887"/>
                  <a:pt x="11897" y="2792"/>
                </a:cubicBezTo>
                <a:cubicBezTo>
                  <a:pt x="11923" y="2686"/>
                  <a:pt x="11966" y="2648"/>
                  <a:pt x="11896" y="2538"/>
                </a:cubicBezTo>
                <a:cubicBezTo>
                  <a:pt x="12155" y="2423"/>
                  <a:pt x="12414" y="2194"/>
                  <a:pt x="12683" y="2064"/>
                </a:cubicBezTo>
                <a:cubicBezTo>
                  <a:pt x="12497" y="1923"/>
                  <a:pt x="12275" y="1832"/>
                  <a:pt x="12074" y="1942"/>
                </a:cubicBezTo>
                <a:cubicBezTo>
                  <a:pt x="11870" y="2053"/>
                  <a:pt x="11809" y="2410"/>
                  <a:pt x="11617" y="2516"/>
                </a:cubicBezTo>
                <a:cubicBezTo>
                  <a:pt x="11637" y="2485"/>
                  <a:pt x="11711" y="2388"/>
                  <a:pt x="11713" y="2336"/>
                </a:cubicBezTo>
                <a:cubicBezTo>
                  <a:pt x="11702" y="2340"/>
                  <a:pt x="11686" y="2329"/>
                  <a:pt x="11677" y="2329"/>
                </a:cubicBezTo>
                <a:cubicBezTo>
                  <a:pt x="11686" y="2307"/>
                  <a:pt x="11682" y="2293"/>
                  <a:pt x="11685" y="2269"/>
                </a:cubicBezTo>
                <a:cubicBezTo>
                  <a:pt x="11662" y="2273"/>
                  <a:pt x="11644" y="2265"/>
                  <a:pt x="11630" y="2243"/>
                </a:cubicBezTo>
                <a:cubicBezTo>
                  <a:pt x="11658" y="2212"/>
                  <a:pt x="11851" y="2141"/>
                  <a:pt x="11835" y="2053"/>
                </a:cubicBezTo>
                <a:cubicBezTo>
                  <a:pt x="11814" y="1936"/>
                  <a:pt x="11510" y="2066"/>
                  <a:pt x="11468" y="2073"/>
                </a:cubicBezTo>
                <a:cubicBezTo>
                  <a:pt x="11212" y="2115"/>
                  <a:pt x="11441" y="2211"/>
                  <a:pt x="11298" y="2321"/>
                </a:cubicBezTo>
                <a:cubicBezTo>
                  <a:pt x="11252" y="2357"/>
                  <a:pt x="11067" y="2097"/>
                  <a:pt x="11074" y="2352"/>
                </a:cubicBezTo>
                <a:cubicBezTo>
                  <a:pt x="11077" y="2447"/>
                  <a:pt x="11215" y="2513"/>
                  <a:pt x="11244" y="2664"/>
                </a:cubicBezTo>
                <a:cubicBezTo>
                  <a:pt x="11346" y="2689"/>
                  <a:pt x="11433" y="2586"/>
                  <a:pt x="11533" y="2565"/>
                </a:cubicBezTo>
                <a:cubicBezTo>
                  <a:pt x="11355" y="2678"/>
                  <a:pt x="11253" y="2955"/>
                  <a:pt x="11404" y="3165"/>
                </a:cubicBezTo>
                <a:cubicBezTo>
                  <a:pt x="11351" y="3210"/>
                  <a:pt x="11314" y="3245"/>
                  <a:pt x="11310" y="3351"/>
                </a:cubicBezTo>
                <a:lnTo>
                  <a:pt x="11336" y="3364"/>
                </a:lnTo>
                <a:cubicBezTo>
                  <a:pt x="11179" y="3430"/>
                  <a:pt x="11147" y="3493"/>
                  <a:pt x="11033" y="3630"/>
                </a:cubicBezTo>
                <a:cubicBezTo>
                  <a:pt x="11033" y="3630"/>
                  <a:pt x="11033" y="3630"/>
                  <a:pt x="11033" y="3630"/>
                </a:cubicBezTo>
                <a:cubicBezTo>
                  <a:pt x="11061" y="3545"/>
                  <a:pt x="11117" y="3452"/>
                  <a:pt x="11050" y="3363"/>
                </a:cubicBezTo>
                <a:cubicBezTo>
                  <a:pt x="11125" y="3368"/>
                  <a:pt x="11195" y="3337"/>
                  <a:pt x="11259" y="3272"/>
                </a:cubicBezTo>
                <a:cubicBezTo>
                  <a:pt x="11272" y="3258"/>
                  <a:pt x="11117" y="3018"/>
                  <a:pt x="11091" y="3018"/>
                </a:cubicBezTo>
                <a:cubicBezTo>
                  <a:pt x="11053" y="3018"/>
                  <a:pt x="10830" y="3190"/>
                  <a:pt x="10806" y="3256"/>
                </a:cubicBezTo>
                <a:cubicBezTo>
                  <a:pt x="10845" y="3272"/>
                  <a:pt x="10884" y="3290"/>
                  <a:pt x="10923" y="3309"/>
                </a:cubicBezTo>
                <a:cubicBezTo>
                  <a:pt x="10787" y="3310"/>
                  <a:pt x="10724" y="3477"/>
                  <a:pt x="10581" y="3471"/>
                </a:cubicBezTo>
                <a:cubicBezTo>
                  <a:pt x="10453" y="3498"/>
                  <a:pt x="10173" y="3554"/>
                  <a:pt x="10078" y="3374"/>
                </a:cubicBezTo>
                <a:cubicBezTo>
                  <a:pt x="10185" y="3130"/>
                  <a:pt x="9473" y="3169"/>
                  <a:pt x="9617" y="3516"/>
                </a:cubicBezTo>
                <a:cubicBezTo>
                  <a:pt x="9529" y="3631"/>
                  <a:pt x="9460" y="3480"/>
                  <a:pt x="9368" y="3462"/>
                </a:cubicBezTo>
                <a:cubicBezTo>
                  <a:pt x="9213" y="3481"/>
                  <a:pt x="9060" y="3554"/>
                  <a:pt x="8904" y="3532"/>
                </a:cubicBezTo>
                <a:cubicBezTo>
                  <a:pt x="9137" y="3401"/>
                  <a:pt x="9054" y="3181"/>
                  <a:pt x="8833" y="3214"/>
                </a:cubicBezTo>
                <a:cubicBezTo>
                  <a:pt x="8716" y="3230"/>
                  <a:pt x="8605" y="3153"/>
                  <a:pt x="8498" y="3083"/>
                </a:cubicBezTo>
                <a:cubicBezTo>
                  <a:pt x="8301" y="2955"/>
                  <a:pt x="8276" y="3049"/>
                  <a:pt x="8098" y="3063"/>
                </a:cubicBezTo>
                <a:cubicBezTo>
                  <a:pt x="8243" y="2744"/>
                  <a:pt x="7844" y="3070"/>
                  <a:pt x="7824" y="3072"/>
                </a:cubicBezTo>
                <a:cubicBezTo>
                  <a:pt x="7802" y="3026"/>
                  <a:pt x="7857" y="2925"/>
                  <a:pt x="7822" y="2862"/>
                </a:cubicBezTo>
                <a:cubicBezTo>
                  <a:pt x="7765" y="2758"/>
                  <a:pt x="7615" y="2889"/>
                  <a:pt x="7553" y="2920"/>
                </a:cubicBezTo>
                <a:cubicBezTo>
                  <a:pt x="7482" y="2703"/>
                  <a:pt x="7200" y="3025"/>
                  <a:pt x="7120" y="3025"/>
                </a:cubicBezTo>
                <a:cubicBezTo>
                  <a:pt x="7038" y="3025"/>
                  <a:pt x="6962" y="3004"/>
                  <a:pt x="6879" y="3011"/>
                </a:cubicBezTo>
                <a:cubicBezTo>
                  <a:pt x="6761" y="3020"/>
                  <a:pt x="6643" y="3147"/>
                  <a:pt x="6540" y="3158"/>
                </a:cubicBezTo>
                <a:cubicBezTo>
                  <a:pt x="6435" y="3288"/>
                  <a:pt x="6241" y="2969"/>
                  <a:pt x="6102" y="3002"/>
                </a:cubicBezTo>
                <a:cubicBezTo>
                  <a:pt x="5987" y="2699"/>
                  <a:pt x="5301" y="2658"/>
                  <a:pt x="5108" y="2660"/>
                </a:cubicBezTo>
                <a:lnTo>
                  <a:pt x="5166" y="2595"/>
                </a:lnTo>
                <a:cubicBezTo>
                  <a:pt x="4385" y="2334"/>
                  <a:pt x="3526" y="2801"/>
                  <a:pt x="2781" y="3187"/>
                </a:cubicBezTo>
                <a:cubicBezTo>
                  <a:pt x="2790" y="3245"/>
                  <a:pt x="2794" y="3305"/>
                  <a:pt x="2794" y="3364"/>
                </a:cubicBezTo>
                <a:cubicBezTo>
                  <a:pt x="2821" y="3360"/>
                  <a:pt x="2846" y="3381"/>
                  <a:pt x="2861" y="3411"/>
                </a:cubicBezTo>
                <a:cubicBezTo>
                  <a:pt x="2895" y="3481"/>
                  <a:pt x="2847" y="3560"/>
                  <a:pt x="2808" y="3586"/>
                </a:cubicBezTo>
                <a:cubicBezTo>
                  <a:pt x="2807" y="3616"/>
                  <a:pt x="2818" y="3636"/>
                  <a:pt x="2843" y="3646"/>
                </a:cubicBezTo>
                <a:cubicBezTo>
                  <a:pt x="2669" y="3610"/>
                  <a:pt x="2511" y="3697"/>
                  <a:pt x="2346" y="3775"/>
                </a:cubicBezTo>
                <a:cubicBezTo>
                  <a:pt x="2313" y="3790"/>
                  <a:pt x="1788" y="3962"/>
                  <a:pt x="2020" y="4078"/>
                </a:cubicBezTo>
                <a:cubicBezTo>
                  <a:pt x="1791" y="4457"/>
                  <a:pt x="2405" y="4349"/>
                  <a:pt x="2510" y="4285"/>
                </a:cubicBezTo>
                <a:cubicBezTo>
                  <a:pt x="2433" y="4611"/>
                  <a:pt x="1900" y="4586"/>
                  <a:pt x="1737" y="4688"/>
                </a:cubicBezTo>
                <a:cubicBezTo>
                  <a:pt x="1610" y="4807"/>
                  <a:pt x="1325" y="4847"/>
                  <a:pt x="1294" y="5135"/>
                </a:cubicBezTo>
                <a:cubicBezTo>
                  <a:pt x="1271" y="5347"/>
                  <a:pt x="1078" y="5786"/>
                  <a:pt x="1423" y="5569"/>
                </a:cubicBezTo>
                <a:cubicBezTo>
                  <a:pt x="1382" y="5665"/>
                  <a:pt x="1288" y="5766"/>
                  <a:pt x="1232" y="5830"/>
                </a:cubicBezTo>
                <a:lnTo>
                  <a:pt x="1247" y="5941"/>
                </a:lnTo>
                <a:cubicBezTo>
                  <a:pt x="1305" y="5949"/>
                  <a:pt x="1373" y="5942"/>
                  <a:pt x="1427" y="5909"/>
                </a:cubicBezTo>
                <a:cubicBezTo>
                  <a:pt x="1582" y="5813"/>
                  <a:pt x="1505" y="5986"/>
                  <a:pt x="1616" y="6015"/>
                </a:cubicBezTo>
                <a:cubicBezTo>
                  <a:pt x="1625" y="6015"/>
                  <a:pt x="1632" y="6012"/>
                  <a:pt x="1639" y="6008"/>
                </a:cubicBezTo>
                <a:cubicBezTo>
                  <a:pt x="1268" y="6350"/>
                  <a:pt x="877" y="6521"/>
                  <a:pt x="478" y="6743"/>
                </a:cubicBezTo>
                <a:cubicBezTo>
                  <a:pt x="343" y="6818"/>
                  <a:pt x="175" y="6809"/>
                  <a:pt x="54" y="6949"/>
                </a:cubicBezTo>
                <a:cubicBezTo>
                  <a:pt x="-154" y="7190"/>
                  <a:pt x="297" y="7025"/>
                  <a:pt x="344" y="7001"/>
                </a:cubicBezTo>
                <a:cubicBezTo>
                  <a:pt x="703" y="6820"/>
                  <a:pt x="1068" y="6689"/>
                  <a:pt x="1424" y="6508"/>
                </a:cubicBezTo>
                <a:cubicBezTo>
                  <a:pt x="1621" y="6408"/>
                  <a:pt x="2420" y="6068"/>
                  <a:pt x="2420" y="5738"/>
                </a:cubicBezTo>
                <a:cubicBezTo>
                  <a:pt x="2564" y="5669"/>
                  <a:pt x="2545" y="5757"/>
                  <a:pt x="2664" y="5770"/>
                </a:cubicBezTo>
                <a:cubicBezTo>
                  <a:pt x="2775" y="5884"/>
                  <a:pt x="2982" y="5669"/>
                  <a:pt x="3099" y="5636"/>
                </a:cubicBezTo>
                <a:cubicBezTo>
                  <a:pt x="3270" y="5586"/>
                  <a:pt x="3354" y="5471"/>
                  <a:pt x="3497" y="5332"/>
                </a:cubicBezTo>
                <a:cubicBezTo>
                  <a:pt x="3592" y="5239"/>
                  <a:pt x="3675" y="5420"/>
                  <a:pt x="3762" y="5453"/>
                </a:cubicBezTo>
                <a:cubicBezTo>
                  <a:pt x="3787" y="5623"/>
                  <a:pt x="4109" y="5610"/>
                  <a:pt x="4206" y="5651"/>
                </a:cubicBezTo>
                <a:cubicBezTo>
                  <a:pt x="4425" y="5745"/>
                  <a:pt x="4511" y="6181"/>
                  <a:pt x="4283" y="6388"/>
                </a:cubicBezTo>
                <a:cubicBezTo>
                  <a:pt x="4312" y="6399"/>
                  <a:pt x="4341" y="6409"/>
                  <a:pt x="4370" y="6418"/>
                </a:cubicBezTo>
                <a:cubicBezTo>
                  <a:pt x="4406" y="6521"/>
                  <a:pt x="4318" y="6634"/>
                  <a:pt x="4422" y="6661"/>
                </a:cubicBezTo>
                <a:cubicBezTo>
                  <a:pt x="4430" y="6629"/>
                  <a:pt x="4441" y="6599"/>
                  <a:pt x="4455" y="6573"/>
                </a:cubicBezTo>
                <a:cubicBezTo>
                  <a:pt x="4440" y="6630"/>
                  <a:pt x="4444" y="6678"/>
                  <a:pt x="4466" y="6718"/>
                </a:cubicBezTo>
                <a:cubicBezTo>
                  <a:pt x="4402" y="6900"/>
                  <a:pt x="4481" y="7268"/>
                  <a:pt x="4600" y="6983"/>
                </a:cubicBezTo>
                <a:cubicBezTo>
                  <a:pt x="4616" y="7025"/>
                  <a:pt x="4647" y="7029"/>
                  <a:pt x="4668" y="7000"/>
                </a:cubicBezTo>
                <a:cubicBezTo>
                  <a:pt x="4695" y="7165"/>
                  <a:pt x="4383" y="7512"/>
                  <a:pt x="4572" y="7612"/>
                </a:cubicBezTo>
                <a:cubicBezTo>
                  <a:pt x="4561" y="7639"/>
                  <a:pt x="4537" y="8189"/>
                  <a:pt x="4549" y="8218"/>
                </a:cubicBezTo>
                <a:cubicBezTo>
                  <a:pt x="4218" y="8052"/>
                  <a:pt x="4499" y="8766"/>
                  <a:pt x="4612" y="8908"/>
                </a:cubicBezTo>
                <a:cubicBezTo>
                  <a:pt x="4469" y="9248"/>
                  <a:pt x="4405" y="9703"/>
                  <a:pt x="4249" y="10060"/>
                </a:cubicBezTo>
                <a:cubicBezTo>
                  <a:pt x="4231" y="10103"/>
                  <a:pt x="3863" y="10724"/>
                  <a:pt x="3931" y="10838"/>
                </a:cubicBezTo>
                <a:cubicBezTo>
                  <a:pt x="3904" y="10875"/>
                  <a:pt x="3884" y="11006"/>
                  <a:pt x="3866" y="11057"/>
                </a:cubicBezTo>
                <a:lnTo>
                  <a:pt x="3907" y="11057"/>
                </a:lnTo>
                <a:cubicBezTo>
                  <a:pt x="3683" y="11057"/>
                  <a:pt x="3673" y="12226"/>
                  <a:pt x="3784" y="12411"/>
                </a:cubicBezTo>
                <a:cubicBezTo>
                  <a:pt x="3713" y="12506"/>
                  <a:pt x="3776" y="12866"/>
                  <a:pt x="3821" y="12952"/>
                </a:cubicBezTo>
                <a:cubicBezTo>
                  <a:pt x="3779" y="13102"/>
                  <a:pt x="3952" y="13349"/>
                  <a:pt x="4063" y="13322"/>
                </a:cubicBezTo>
                <a:cubicBezTo>
                  <a:pt x="4060" y="13338"/>
                  <a:pt x="4058" y="13354"/>
                  <a:pt x="4057" y="13370"/>
                </a:cubicBezTo>
                <a:lnTo>
                  <a:pt x="4087" y="13380"/>
                </a:lnTo>
                <a:lnTo>
                  <a:pt x="4093" y="13414"/>
                </a:lnTo>
                <a:cubicBezTo>
                  <a:pt x="4290" y="13490"/>
                  <a:pt x="4102" y="14174"/>
                  <a:pt x="4227" y="14378"/>
                </a:cubicBezTo>
                <a:cubicBezTo>
                  <a:pt x="4190" y="14488"/>
                  <a:pt x="4544" y="15231"/>
                  <a:pt x="4228" y="15052"/>
                </a:cubicBezTo>
                <a:cubicBezTo>
                  <a:pt x="4228" y="15090"/>
                  <a:pt x="4220" y="15124"/>
                  <a:pt x="4204" y="15151"/>
                </a:cubicBezTo>
                <a:cubicBezTo>
                  <a:pt x="4266" y="15264"/>
                  <a:pt x="4305" y="15363"/>
                  <a:pt x="4335" y="15505"/>
                </a:cubicBezTo>
                <a:lnTo>
                  <a:pt x="4346" y="15505"/>
                </a:lnTo>
                <a:cubicBezTo>
                  <a:pt x="4387" y="15457"/>
                  <a:pt x="4394" y="15543"/>
                  <a:pt x="4468" y="15503"/>
                </a:cubicBezTo>
                <a:cubicBezTo>
                  <a:pt x="4571" y="15800"/>
                  <a:pt x="4536" y="15834"/>
                  <a:pt x="4468" y="16154"/>
                </a:cubicBezTo>
                <a:cubicBezTo>
                  <a:pt x="4643" y="16085"/>
                  <a:pt x="4765" y="16495"/>
                  <a:pt x="4806" y="16709"/>
                </a:cubicBezTo>
                <a:cubicBezTo>
                  <a:pt x="5029" y="16623"/>
                  <a:pt x="4935" y="16305"/>
                  <a:pt x="4856" y="16081"/>
                </a:cubicBezTo>
                <a:lnTo>
                  <a:pt x="4819" y="16090"/>
                </a:lnTo>
                <a:cubicBezTo>
                  <a:pt x="4853" y="16027"/>
                  <a:pt x="4845" y="15950"/>
                  <a:pt x="4813" y="15895"/>
                </a:cubicBezTo>
                <a:lnTo>
                  <a:pt x="4799" y="15901"/>
                </a:lnTo>
                <a:cubicBezTo>
                  <a:pt x="4773" y="15687"/>
                  <a:pt x="4711" y="15463"/>
                  <a:pt x="4695" y="15267"/>
                </a:cubicBezTo>
                <a:cubicBezTo>
                  <a:pt x="4682" y="15104"/>
                  <a:pt x="4607" y="15059"/>
                  <a:pt x="4654" y="14857"/>
                </a:cubicBezTo>
                <a:cubicBezTo>
                  <a:pt x="4643" y="14858"/>
                  <a:pt x="4632" y="14860"/>
                  <a:pt x="4621" y="14862"/>
                </a:cubicBezTo>
                <a:cubicBezTo>
                  <a:pt x="4621" y="14691"/>
                  <a:pt x="4335" y="14165"/>
                  <a:pt x="4542" y="14004"/>
                </a:cubicBezTo>
                <a:cubicBezTo>
                  <a:pt x="4568" y="14048"/>
                  <a:pt x="4597" y="14053"/>
                  <a:pt x="4633" y="14051"/>
                </a:cubicBezTo>
                <a:cubicBezTo>
                  <a:pt x="4648" y="14091"/>
                  <a:pt x="4668" y="14112"/>
                  <a:pt x="4694" y="14132"/>
                </a:cubicBezTo>
                <a:cubicBezTo>
                  <a:pt x="4606" y="14386"/>
                  <a:pt x="4732" y="15046"/>
                  <a:pt x="4888" y="15146"/>
                </a:cubicBezTo>
                <a:cubicBezTo>
                  <a:pt x="4868" y="15243"/>
                  <a:pt x="4898" y="15358"/>
                  <a:pt x="4958" y="15388"/>
                </a:cubicBezTo>
                <a:cubicBezTo>
                  <a:pt x="4954" y="15472"/>
                  <a:pt x="4978" y="15520"/>
                  <a:pt x="5030" y="15518"/>
                </a:cubicBezTo>
                <a:cubicBezTo>
                  <a:pt x="5042" y="15595"/>
                  <a:pt x="4993" y="15742"/>
                  <a:pt x="4986" y="15835"/>
                </a:cubicBezTo>
                <a:cubicBezTo>
                  <a:pt x="5221" y="15896"/>
                  <a:pt x="5644" y="17047"/>
                  <a:pt x="5374" y="17327"/>
                </a:cubicBezTo>
                <a:lnTo>
                  <a:pt x="5386" y="17327"/>
                </a:lnTo>
                <a:cubicBezTo>
                  <a:pt x="5363" y="17683"/>
                  <a:pt x="5700" y="18230"/>
                  <a:pt x="5921" y="18189"/>
                </a:cubicBezTo>
                <a:cubicBezTo>
                  <a:pt x="6093" y="18316"/>
                  <a:pt x="6360" y="18812"/>
                  <a:pt x="6568" y="18812"/>
                </a:cubicBezTo>
                <a:cubicBezTo>
                  <a:pt x="6707" y="18812"/>
                  <a:pt x="6794" y="18936"/>
                  <a:pt x="6933" y="18803"/>
                </a:cubicBezTo>
                <a:cubicBezTo>
                  <a:pt x="7112" y="18634"/>
                  <a:pt x="7225" y="18901"/>
                  <a:pt x="7338" y="19138"/>
                </a:cubicBezTo>
                <a:lnTo>
                  <a:pt x="7320" y="19233"/>
                </a:lnTo>
                <a:cubicBezTo>
                  <a:pt x="7452" y="19457"/>
                  <a:pt x="7609" y="19414"/>
                  <a:pt x="7752" y="19578"/>
                </a:cubicBezTo>
                <a:lnTo>
                  <a:pt x="7747" y="19554"/>
                </a:lnTo>
                <a:cubicBezTo>
                  <a:pt x="7831" y="19616"/>
                  <a:pt x="7966" y="19734"/>
                  <a:pt x="8058" y="19655"/>
                </a:cubicBezTo>
                <a:cubicBezTo>
                  <a:pt x="8068" y="19696"/>
                  <a:pt x="8082" y="19732"/>
                  <a:pt x="8102" y="19765"/>
                </a:cubicBezTo>
                <a:cubicBezTo>
                  <a:pt x="8201" y="19848"/>
                  <a:pt x="8249" y="20070"/>
                  <a:pt x="8332" y="20197"/>
                </a:cubicBezTo>
                <a:cubicBezTo>
                  <a:pt x="8328" y="20204"/>
                  <a:pt x="8318" y="20232"/>
                  <a:pt x="8307" y="20232"/>
                </a:cubicBezTo>
                <a:cubicBezTo>
                  <a:pt x="8248" y="20232"/>
                  <a:pt x="8242" y="20374"/>
                  <a:pt x="8290" y="20404"/>
                </a:cubicBezTo>
                <a:cubicBezTo>
                  <a:pt x="8224" y="20558"/>
                  <a:pt x="8335" y="20723"/>
                  <a:pt x="8404" y="20797"/>
                </a:cubicBezTo>
                <a:lnTo>
                  <a:pt x="8421" y="20768"/>
                </a:lnTo>
                <a:lnTo>
                  <a:pt x="8440" y="20786"/>
                </a:lnTo>
                <a:cubicBezTo>
                  <a:pt x="8440" y="20786"/>
                  <a:pt x="8460" y="20734"/>
                  <a:pt x="8463" y="20726"/>
                </a:cubicBezTo>
                <a:cubicBezTo>
                  <a:pt x="8481" y="20791"/>
                  <a:pt x="8506" y="20812"/>
                  <a:pt x="8544" y="20833"/>
                </a:cubicBezTo>
                <a:cubicBezTo>
                  <a:pt x="8631" y="20882"/>
                  <a:pt x="8572" y="21016"/>
                  <a:pt x="8625" y="21113"/>
                </a:cubicBezTo>
                <a:cubicBezTo>
                  <a:pt x="8670" y="21195"/>
                  <a:pt x="8728" y="21169"/>
                  <a:pt x="8774" y="21125"/>
                </a:cubicBezTo>
                <a:cubicBezTo>
                  <a:pt x="8819" y="21180"/>
                  <a:pt x="8955" y="21104"/>
                  <a:pt x="8977" y="21190"/>
                </a:cubicBezTo>
                <a:cubicBezTo>
                  <a:pt x="8994" y="21268"/>
                  <a:pt x="9007" y="21360"/>
                  <a:pt x="9074" y="21327"/>
                </a:cubicBezTo>
                <a:cubicBezTo>
                  <a:pt x="9087" y="21499"/>
                  <a:pt x="9387" y="21534"/>
                  <a:pt x="9242" y="21147"/>
                </a:cubicBezTo>
                <a:cubicBezTo>
                  <a:pt x="9322" y="21112"/>
                  <a:pt x="9334" y="20930"/>
                  <a:pt x="9399" y="20930"/>
                </a:cubicBezTo>
                <a:cubicBezTo>
                  <a:pt x="9476" y="20930"/>
                  <a:pt x="9464" y="21056"/>
                  <a:pt x="9512" y="21099"/>
                </a:cubicBezTo>
                <a:cubicBezTo>
                  <a:pt x="9489" y="21140"/>
                  <a:pt x="9481" y="21184"/>
                  <a:pt x="9489" y="21232"/>
                </a:cubicBezTo>
                <a:cubicBezTo>
                  <a:pt x="9530" y="21294"/>
                  <a:pt x="9567" y="21378"/>
                  <a:pt x="9594" y="21465"/>
                </a:cubicBezTo>
                <a:cubicBezTo>
                  <a:pt x="9613" y="21444"/>
                  <a:pt x="9635" y="21429"/>
                  <a:pt x="9658" y="21420"/>
                </a:cubicBezTo>
                <a:cubicBezTo>
                  <a:pt x="9651" y="21406"/>
                  <a:pt x="9651" y="21393"/>
                  <a:pt x="9656" y="21381"/>
                </a:cubicBezTo>
                <a:lnTo>
                  <a:pt x="9663" y="21393"/>
                </a:lnTo>
                <a:cubicBezTo>
                  <a:pt x="9703" y="21371"/>
                  <a:pt x="9728" y="21327"/>
                  <a:pt x="9733" y="21262"/>
                </a:cubicBezTo>
                <a:lnTo>
                  <a:pt x="9788" y="21239"/>
                </a:lnTo>
                <a:lnTo>
                  <a:pt x="9727" y="21036"/>
                </a:lnTo>
                <a:lnTo>
                  <a:pt x="9751" y="20983"/>
                </a:lnTo>
                <a:cubicBezTo>
                  <a:pt x="9690" y="20841"/>
                  <a:pt x="9591" y="20668"/>
                  <a:pt x="9478" y="20685"/>
                </a:cubicBezTo>
                <a:cubicBezTo>
                  <a:pt x="9386" y="20387"/>
                  <a:pt x="9023" y="21216"/>
                  <a:pt x="8905" y="20642"/>
                </a:cubicBezTo>
                <a:lnTo>
                  <a:pt x="8820" y="20643"/>
                </a:lnTo>
                <a:cubicBezTo>
                  <a:pt x="8820" y="20643"/>
                  <a:pt x="8682" y="20417"/>
                  <a:pt x="8717" y="20417"/>
                </a:cubicBezTo>
                <a:cubicBezTo>
                  <a:pt x="8717" y="20417"/>
                  <a:pt x="8717" y="20417"/>
                  <a:pt x="8717" y="20417"/>
                </a:cubicBezTo>
                <a:cubicBezTo>
                  <a:pt x="8719" y="20417"/>
                  <a:pt x="8885" y="19093"/>
                  <a:pt x="8901" y="18934"/>
                </a:cubicBezTo>
                <a:cubicBezTo>
                  <a:pt x="8865" y="18931"/>
                  <a:pt x="8824" y="18936"/>
                  <a:pt x="8790" y="18958"/>
                </a:cubicBezTo>
                <a:cubicBezTo>
                  <a:pt x="8665" y="18803"/>
                  <a:pt x="8556" y="18836"/>
                  <a:pt x="8451" y="18742"/>
                </a:cubicBezTo>
                <a:cubicBezTo>
                  <a:pt x="8417" y="18712"/>
                  <a:pt x="8071" y="18740"/>
                  <a:pt x="8035" y="18773"/>
                </a:cubicBezTo>
                <a:cubicBezTo>
                  <a:pt x="8032" y="18768"/>
                  <a:pt x="8029" y="18763"/>
                  <a:pt x="8025" y="18757"/>
                </a:cubicBezTo>
                <a:cubicBezTo>
                  <a:pt x="8109" y="18574"/>
                  <a:pt x="8142" y="18312"/>
                  <a:pt x="8200" y="18110"/>
                </a:cubicBezTo>
                <a:cubicBezTo>
                  <a:pt x="8274" y="17968"/>
                  <a:pt x="8508" y="16969"/>
                  <a:pt x="8384" y="16969"/>
                </a:cubicBezTo>
                <a:cubicBezTo>
                  <a:pt x="8284" y="16969"/>
                  <a:pt x="8160" y="16997"/>
                  <a:pt x="8055" y="17030"/>
                </a:cubicBezTo>
                <a:cubicBezTo>
                  <a:pt x="7708" y="17115"/>
                  <a:pt x="7858" y="17667"/>
                  <a:pt x="7599" y="17812"/>
                </a:cubicBezTo>
                <a:cubicBezTo>
                  <a:pt x="7601" y="17840"/>
                  <a:pt x="7595" y="17864"/>
                  <a:pt x="7583" y="17884"/>
                </a:cubicBezTo>
                <a:lnTo>
                  <a:pt x="7589" y="17850"/>
                </a:lnTo>
                <a:cubicBezTo>
                  <a:pt x="7313" y="17803"/>
                  <a:pt x="7206" y="18092"/>
                  <a:pt x="6955" y="17842"/>
                </a:cubicBezTo>
                <a:cubicBezTo>
                  <a:pt x="6928" y="17797"/>
                  <a:pt x="6940" y="17716"/>
                  <a:pt x="6902" y="17678"/>
                </a:cubicBezTo>
                <a:cubicBezTo>
                  <a:pt x="6909" y="17285"/>
                  <a:pt x="6745" y="17009"/>
                  <a:pt x="6787" y="16567"/>
                </a:cubicBezTo>
                <a:cubicBezTo>
                  <a:pt x="6799" y="16444"/>
                  <a:pt x="6795" y="15988"/>
                  <a:pt x="6892" y="15936"/>
                </a:cubicBezTo>
                <a:cubicBezTo>
                  <a:pt x="6964" y="15896"/>
                  <a:pt x="6970" y="15802"/>
                  <a:pt x="6989" y="15695"/>
                </a:cubicBezTo>
                <a:cubicBezTo>
                  <a:pt x="6960" y="15291"/>
                  <a:pt x="7099" y="15132"/>
                  <a:pt x="7297" y="14954"/>
                </a:cubicBezTo>
                <a:cubicBezTo>
                  <a:pt x="7407" y="14847"/>
                  <a:pt x="7530" y="14681"/>
                  <a:pt x="7658" y="14647"/>
                </a:cubicBezTo>
                <a:cubicBezTo>
                  <a:pt x="7726" y="14629"/>
                  <a:pt x="7890" y="14823"/>
                  <a:pt x="7918" y="14651"/>
                </a:cubicBezTo>
                <a:cubicBezTo>
                  <a:pt x="7929" y="14662"/>
                  <a:pt x="7940" y="14672"/>
                  <a:pt x="7951" y="14683"/>
                </a:cubicBezTo>
                <a:cubicBezTo>
                  <a:pt x="7964" y="14784"/>
                  <a:pt x="8062" y="14913"/>
                  <a:pt x="8119" y="14804"/>
                </a:cubicBezTo>
                <a:cubicBezTo>
                  <a:pt x="8158" y="14847"/>
                  <a:pt x="8205" y="14840"/>
                  <a:pt x="8218" y="14755"/>
                </a:cubicBezTo>
                <a:cubicBezTo>
                  <a:pt x="8226" y="14760"/>
                  <a:pt x="8233" y="14769"/>
                  <a:pt x="8237" y="14776"/>
                </a:cubicBezTo>
                <a:cubicBezTo>
                  <a:pt x="8243" y="14815"/>
                  <a:pt x="8236" y="14869"/>
                  <a:pt x="8238" y="14910"/>
                </a:cubicBezTo>
                <a:cubicBezTo>
                  <a:pt x="8321" y="14897"/>
                  <a:pt x="8431" y="14728"/>
                  <a:pt x="8309" y="14652"/>
                </a:cubicBezTo>
                <a:cubicBezTo>
                  <a:pt x="8336" y="14621"/>
                  <a:pt x="8354" y="14568"/>
                  <a:pt x="8341" y="14512"/>
                </a:cubicBezTo>
                <a:cubicBezTo>
                  <a:pt x="8478" y="14435"/>
                  <a:pt x="8881" y="14341"/>
                  <a:pt x="8891" y="14660"/>
                </a:cubicBezTo>
                <a:cubicBezTo>
                  <a:pt x="8953" y="14668"/>
                  <a:pt x="9017" y="14668"/>
                  <a:pt x="9071" y="14607"/>
                </a:cubicBezTo>
                <a:cubicBezTo>
                  <a:pt x="9213" y="14442"/>
                  <a:pt x="9157" y="14782"/>
                  <a:pt x="9269" y="14825"/>
                </a:cubicBezTo>
                <a:cubicBezTo>
                  <a:pt x="9274" y="14919"/>
                  <a:pt x="9158" y="15202"/>
                  <a:pt x="9231" y="15255"/>
                </a:cubicBezTo>
                <a:cubicBezTo>
                  <a:pt x="9194" y="15363"/>
                  <a:pt x="9245" y="15521"/>
                  <a:pt x="9291" y="15598"/>
                </a:cubicBezTo>
                <a:cubicBezTo>
                  <a:pt x="9303" y="15683"/>
                  <a:pt x="9312" y="15745"/>
                  <a:pt x="9294" y="15822"/>
                </a:cubicBezTo>
                <a:cubicBezTo>
                  <a:pt x="9320" y="15840"/>
                  <a:pt x="9347" y="15858"/>
                  <a:pt x="9373" y="15876"/>
                </a:cubicBezTo>
                <a:cubicBezTo>
                  <a:pt x="9376" y="15876"/>
                  <a:pt x="9389" y="16042"/>
                  <a:pt x="9392" y="16062"/>
                </a:cubicBezTo>
                <a:cubicBezTo>
                  <a:pt x="9891" y="16160"/>
                  <a:pt x="9504" y="14453"/>
                  <a:pt x="9669" y="14135"/>
                </a:cubicBezTo>
                <a:cubicBezTo>
                  <a:pt x="9801" y="13882"/>
                  <a:pt x="9965" y="13656"/>
                  <a:pt x="10125" y="13464"/>
                </a:cubicBezTo>
                <a:cubicBezTo>
                  <a:pt x="10212" y="13386"/>
                  <a:pt x="10656" y="13027"/>
                  <a:pt x="10592" y="12952"/>
                </a:cubicBezTo>
                <a:cubicBezTo>
                  <a:pt x="10811" y="12978"/>
                  <a:pt x="10712" y="12540"/>
                  <a:pt x="10767" y="12391"/>
                </a:cubicBezTo>
                <a:cubicBezTo>
                  <a:pt x="10824" y="12240"/>
                  <a:pt x="11053" y="12010"/>
                  <a:pt x="10986" y="11786"/>
                </a:cubicBezTo>
                <a:cubicBezTo>
                  <a:pt x="11080" y="11837"/>
                  <a:pt x="11274" y="11508"/>
                  <a:pt x="11267" y="11344"/>
                </a:cubicBezTo>
                <a:cubicBezTo>
                  <a:pt x="11357" y="11366"/>
                  <a:pt x="11513" y="11281"/>
                  <a:pt x="11556" y="11158"/>
                </a:cubicBezTo>
                <a:lnTo>
                  <a:pt x="11547" y="11137"/>
                </a:lnTo>
                <a:cubicBezTo>
                  <a:pt x="11604" y="11130"/>
                  <a:pt x="11673" y="11149"/>
                  <a:pt x="11708" y="11051"/>
                </a:cubicBezTo>
                <a:cubicBezTo>
                  <a:pt x="11862" y="11256"/>
                  <a:pt x="12051" y="10796"/>
                  <a:pt x="11864" y="10786"/>
                </a:cubicBezTo>
                <a:cubicBezTo>
                  <a:pt x="11862" y="10777"/>
                  <a:pt x="11858" y="10768"/>
                  <a:pt x="11853" y="10760"/>
                </a:cubicBezTo>
                <a:cubicBezTo>
                  <a:pt x="11890" y="10730"/>
                  <a:pt x="11924" y="10692"/>
                  <a:pt x="11955" y="10645"/>
                </a:cubicBezTo>
                <a:lnTo>
                  <a:pt x="11897" y="10613"/>
                </a:lnTo>
                <a:cubicBezTo>
                  <a:pt x="11984" y="10395"/>
                  <a:pt x="12164" y="10420"/>
                  <a:pt x="12245" y="10219"/>
                </a:cubicBezTo>
                <a:cubicBezTo>
                  <a:pt x="12330" y="10329"/>
                  <a:pt x="12661" y="10004"/>
                  <a:pt x="12737" y="9969"/>
                </a:cubicBezTo>
                <a:cubicBezTo>
                  <a:pt x="12664" y="10028"/>
                  <a:pt x="12408" y="10465"/>
                  <a:pt x="12631" y="10503"/>
                </a:cubicBezTo>
                <a:cubicBezTo>
                  <a:pt x="12789" y="10529"/>
                  <a:pt x="13042" y="10150"/>
                  <a:pt x="13212" y="10091"/>
                </a:cubicBezTo>
                <a:cubicBezTo>
                  <a:pt x="13387" y="9998"/>
                  <a:pt x="13656" y="9885"/>
                  <a:pt x="13625" y="9596"/>
                </a:cubicBezTo>
                <a:cubicBezTo>
                  <a:pt x="13619" y="9547"/>
                  <a:pt x="13631" y="9416"/>
                  <a:pt x="13642" y="9372"/>
                </a:cubicBezTo>
                <a:cubicBezTo>
                  <a:pt x="13542" y="9340"/>
                  <a:pt x="13492" y="9469"/>
                  <a:pt x="13428" y="9577"/>
                </a:cubicBezTo>
                <a:cubicBezTo>
                  <a:pt x="13210" y="9948"/>
                  <a:pt x="13126" y="9598"/>
                  <a:pt x="13005" y="9382"/>
                </a:cubicBezTo>
                <a:cubicBezTo>
                  <a:pt x="13043" y="9332"/>
                  <a:pt x="13094" y="9211"/>
                  <a:pt x="13035" y="9143"/>
                </a:cubicBezTo>
                <a:cubicBezTo>
                  <a:pt x="13114" y="9113"/>
                  <a:pt x="13246" y="8984"/>
                  <a:pt x="13198" y="8817"/>
                </a:cubicBezTo>
                <a:cubicBezTo>
                  <a:pt x="13133" y="8591"/>
                  <a:pt x="12921" y="8699"/>
                  <a:pt x="12820" y="8748"/>
                </a:cubicBezTo>
                <a:cubicBezTo>
                  <a:pt x="13042" y="8483"/>
                  <a:pt x="13227" y="8473"/>
                  <a:pt x="13514" y="8498"/>
                </a:cubicBezTo>
                <a:cubicBezTo>
                  <a:pt x="13879" y="8530"/>
                  <a:pt x="14067" y="8267"/>
                  <a:pt x="14414" y="8134"/>
                </a:cubicBezTo>
                <a:cubicBezTo>
                  <a:pt x="14179" y="8347"/>
                  <a:pt x="14080" y="8871"/>
                  <a:pt x="13864" y="9071"/>
                </a:cubicBezTo>
                <a:cubicBezTo>
                  <a:pt x="13717" y="9206"/>
                  <a:pt x="14405" y="9317"/>
                  <a:pt x="14423" y="9210"/>
                </a:cubicBezTo>
                <a:cubicBezTo>
                  <a:pt x="14405" y="9314"/>
                  <a:pt x="14297" y="9379"/>
                  <a:pt x="14243" y="9402"/>
                </a:cubicBezTo>
                <a:cubicBezTo>
                  <a:pt x="14313" y="9418"/>
                  <a:pt x="14553" y="9162"/>
                  <a:pt x="14568" y="9200"/>
                </a:cubicBezTo>
                <a:cubicBezTo>
                  <a:pt x="14597" y="9273"/>
                  <a:pt x="14503" y="9384"/>
                  <a:pt x="14488" y="9436"/>
                </a:cubicBezTo>
                <a:cubicBezTo>
                  <a:pt x="14575" y="9436"/>
                  <a:pt x="14865" y="9376"/>
                  <a:pt x="14709" y="9160"/>
                </a:cubicBezTo>
                <a:cubicBezTo>
                  <a:pt x="14686" y="9129"/>
                  <a:pt x="14726" y="9185"/>
                  <a:pt x="14709" y="9160"/>
                </a:cubicBezTo>
                <a:close/>
                <a:moveTo>
                  <a:pt x="9292" y="15807"/>
                </a:moveTo>
                <a:cubicBezTo>
                  <a:pt x="9294" y="15804"/>
                  <a:pt x="9294" y="15801"/>
                  <a:pt x="9294" y="15797"/>
                </a:cubicBezTo>
                <a:lnTo>
                  <a:pt x="9292" y="15807"/>
                </a:lnTo>
                <a:cubicBezTo>
                  <a:pt x="9292" y="15807"/>
                  <a:pt x="9292" y="15807"/>
                  <a:pt x="9292" y="15807"/>
                </a:cubicBezTo>
                <a:close/>
                <a:moveTo>
                  <a:pt x="10369" y="17468"/>
                </a:moveTo>
                <a:cubicBezTo>
                  <a:pt x="10335" y="17379"/>
                  <a:pt x="10167" y="17362"/>
                  <a:pt x="10156" y="17309"/>
                </a:cubicBezTo>
                <a:cubicBezTo>
                  <a:pt x="10131" y="17189"/>
                  <a:pt x="9829" y="16896"/>
                  <a:pt x="9715" y="16827"/>
                </a:cubicBezTo>
                <a:cubicBezTo>
                  <a:pt x="9533" y="16717"/>
                  <a:pt x="9375" y="16548"/>
                  <a:pt x="9156" y="16596"/>
                </a:cubicBezTo>
                <a:cubicBezTo>
                  <a:pt x="9072" y="16614"/>
                  <a:pt x="8717" y="16808"/>
                  <a:pt x="8728" y="16994"/>
                </a:cubicBezTo>
                <a:cubicBezTo>
                  <a:pt x="8730" y="17027"/>
                  <a:pt x="9190" y="16568"/>
                  <a:pt x="9247" y="16760"/>
                </a:cubicBezTo>
                <a:cubicBezTo>
                  <a:pt x="9236" y="16814"/>
                  <a:pt x="9210" y="16831"/>
                  <a:pt x="9167" y="16810"/>
                </a:cubicBezTo>
                <a:cubicBezTo>
                  <a:pt x="9239" y="16755"/>
                  <a:pt x="9536" y="17035"/>
                  <a:pt x="9629" y="17047"/>
                </a:cubicBezTo>
                <a:cubicBezTo>
                  <a:pt x="9753" y="17062"/>
                  <a:pt x="9684" y="17348"/>
                  <a:pt x="9814" y="17335"/>
                </a:cubicBezTo>
                <a:cubicBezTo>
                  <a:pt x="9981" y="17317"/>
                  <a:pt x="9882" y="17476"/>
                  <a:pt x="9811" y="17585"/>
                </a:cubicBezTo>
                <a:cubicBezTo>
                  <a:pt x="9811" y="17585"/>
                  <a:pt x="9811" y="17585"/>
                  <a:pt x="9811" y="17585"/>
                </a:cubicBezTo>
                <a:cubicBezTo>
                  <a:pt x="9811" y="17585"/>
                  <a:pt x="9811" y="17585"/>
                  <a:pt x="9811" y="17586"/>
                </a:cubicBezTo>
                <a:cubicBezTo>
                  <a:pt x="9831" y="17583"/>
                  <a:pt x="10404" y="17558"/>
                  <a:pt x="10369" y="17468"/>
                </a:cubicBezTo>
                <a:cubicBezTo>
                  <a:pt x="10361" y="17446"/>
                  <a:pt x="10394" y="17532"/>
                  <a:pt x="10369" y="17468"/>
                </a:cubicBezTo>
                <a:close/>
                <a:moveTo>
                  <a:pt x="20788" y="376"/>
                </a:moveTo>
                <a:cubicBezTo>
                  <a:pt x="20661" y="393"/>
                  <a:pt x="20521" y="488"/>
                  <a:pt x="20397" y="482"/>
                </a:cubicBezTo>
                <a:cubicBezTo>
                  <a:pt x="20438" y="401"/>
                  <a:pt x="20552" y="165"/>
                  <a:pt x="20633" y="174"/>
                </a:cubicBezTo>
                <a:cubicBezTo>
                  <a:pt x="20175" y="121"/>
                  <a:pt x="19751" y="-20"/>
                  <a:pt x="19284" y="2"/>
                </a:cubicBezTo>
                <a:cubicBezTo>
                  <a:pt x="19105" y="10"/>
                  <a:pt x="18902" y="130"/>
                  <a:pt x="18728" y="59"/>
                </a:cubicBezTo>
                <a:cubicBezTo>
                  <a:pt x="18578" y="-2"/>
                  <a:pt x="18252" y="-5"/>
                  <a:pt x="18116" y="136"/>
                </a:cubicBezTo>
                <a:cubicBezTo>
                  <a:pt x="18175" y="75"/>
                  <a:pt x="18298" y="279"/>
                  <a:pt x="18361" y="285"/>
                </a:cubicBezTo>
                <a:cubicBezTo>
                  <a:pt x="18166" y="285"/>
                  <a:pt x="17974" y="110"/>
                  <a:pt x="17776" y="149"/>
                </a:cubicBezTo>
                <a:cubicBezTo>
                  <a:pt x="17789" y="245"/>
                  <a:pt x="17791" y="210"/>
                  <a:pt x="17833" y="259"/>
                </a:cubicBezTo>
                <a:cubicBezTo>
                  <a:pt x="17695" y="308"/>
                  <a:pt x="17442" y="191"/>
                  <a:pt x="17296" y="183"/>
                </a:cubicBezTo>
                <a:cubicBezTo>
                  <a:pt x="17097" y="171"/>
                  <a:pt x="16902" y="273"/>
                  <a:pt x="16703" y="270"/>
                </a:cubicBezTo>
                <a:cubicBezTo>
                  <a:pt x="16707" y="477"/>
                  <a:pt x="16045" y="464"/>
                  <a:pt x="15922" y="611"/>
                </a:cubicBezTo>
                <a:cubicBezTo>
                  <a:pt x="15984" y="642"/>
                  <a:pt x="16050" y="632"/>
                  <a:pt x="16114" y="633"/>
                </a:cubicBezTo>
                <a:cubicBezTo>
                  <a:pt x="16093" y="927"/>
                  <a:pt x="15244" y="969"/>
                  <a:pt x="15099" y="1007"/>
                </a:cubicBezTo>
                <a:cubicBezTo>
                  <a:pt x="15125" y="1148"/>
                  <a:pt x="15349" y="1197"/>
                  <a:pt x="15414" y="1212"/>
                </a:cubicBezTo>
                <a:cubicBezTo>
                  <a:pt x="15335" y="1285"/>
                  <a:pt x="15187" y="1268"/>
                  <a:pt x="15096" y="1309"/>
                </a:cubicBezTo>
                <a:cubicBezTo>
                  <a:pt x="15139" y="1389"/>
                  <a:pt x="15278" y="1390"/>
                  <a:pt x="15337" y="1395"/>
                </a:cubicBezTo>
                <a:cubicBezTo>
                  <a:pt x="15292" y="1423"/>
                  <a:pt x="15237" y="1423"/>
                  <a:pt x="15198" y="1474"/>
                </a:cubicBezTo>
                <a:cubicBezTo>
                  <a:pt x="15433" y="1544"/>
                  <a:pt x="15645" y="1461"/>
                  <a:pt x="15880" y="1474"/>
                </a:cubicBezTo>
                <a:cubicBezTo>
                  <a:pt x="15992" y="1480"/>
                  <a:pt x="16131" y="1500"/>
                  <a:pt x="16237" y="1562"/>
                </a:cubicBezTo>
                <a:cubicBezTo>
                  <a:pt x="16344" y="1623"/>
                  <a:pt x="16226" y="1664"/>
                  <a:pt x="16247" y="1717"/>
                </a:cubicBezTo>
                <a:cubicBezTo>
                  <a:pt x="16266" y="1765"/>
                  <a:pt x="16487" y="1880"/>
                  <a:pt x="16313" y="1959"/>
                </a:cubicBezTo>
                <a:cubicBezTo>
                  <a:pt x="16559" y="1847"/>
                  <a:pt x="16204" y="2758"/>
                  <a:pt x="16179" y="2583"/>
                </a:cubicBezTo>
                <a:cubicBezTo>
                  <a:pt x="16203" y="2748"/>
                  <a:pt x="16427" y="2568"/>
                  <a:pt x="16494" y="2630"/>
                </a:cubicBezTo>
                <a:cubicBezTo>
                  <a:pt x="16482" y="2669"/>
                  <a:pt x="16425" y="2638"/>
                  <a:pt x="16428" y="2695"/>
                </a:cubicBezTo>
                <a:cubicBezTo>
                  <a:pt x="16522" y="2661"/>
                  <a:pt x="16598" y="2870"/>
                  <a:pt x="16593" y="2871"/>
                </a:cubicBezTo>
                <a:cubicBezTo>
                  <a:pt x="16581" y="2874"/>
                  <a:pt x="16213" y="2799"/>
                  <a:pt x="16214" y="2802"/>
                </a:cubicBezTo>
                <a:cubicBezTo>
                  <a:pt x="16229" y="2835"/>
                  <a:pt x="16243" y="2868"/>
                  <a:pt x="16257" y="2900"/>
                </a:cubicBezTo>
                <a:cubicBezTo>
                  <a:pt x="16172" y="2904"/>
                  <a:pt x="16137" y="2977"/>
                  <a:pt x="16095" y="3092"/>
                </a:cubicBezTo>
                <a:cubicBezTo>
                  <a:pt x="16186" y="3140"/>
                  <a:pt x="16346" y="3277"/>
                  <a:pt x="16419" y="3092"/>
                </a:cubicBezTo>
                <a:cubicBezTo>
                  <a:pt x="16494" y="2902"/>
                  <a:pt x="16546" y="3028"/>
                  <a:pt x="16502" y="3209"/>
                </a:cubicBezTo>
                <a:cubicBezTo>
                  <a:pt x="16498" y="3224"/>
                  <a:pt x="15861" y="3720"/>
                  <a:pt x="16084" y="3791"/>
                </a:cubicBezTo>
                <a:cubicBezTo>
                  <a:pt x="16081" y="3912"/>
                  <a:pt x="15909" y="3871"/>
                  <a:pt x="15990" y="4074"/>
                </a:cubicBezTo>
                <a:cubicBezTo>
                  <a:pt x="16072" y="4282"/>
                  <a:pt x="15977" y="4328"/>
                  <a:pt x="16012" y="4522"/>
                </a:cubicBezTo>
                <a:cubicBezTo>
                  <a:pt x="16059" y="4791"/>
                  <a:pt x="16218" y="5190"/>
                  <a:pt x="16217" y="5459"/>
                </a:cubicBezTo>
                <a:cubicBezTo>
                  <a:pt x="16477" y="5346"/>
                  <a:pt x="16693" y="5934"/>
                  <a:pt x="16874" y="5492"/>
                </a:cubicBezTo>
                <a:cubicBezTo>
                  <a:pt x="16944" y="5323"/>
                  <a:pt x="17078" y="4978"/>
                  <a:pt x="17178" y="4863"/>
                </a:cubicBezTo>
                <a:cubicBezTo>
                  <a:pt x="17207" y="4830"/>
                  <a:pt x="17468" y="4537"/>
                  <a:pt x="17336" y="4506"/>
                </a:cubicBezTo>
                <a:cubicBezTo>
                  <a:pt x="17352" y="4429"/>
                  <a:pt x="17466" y="4461"/>
                  <a:pt x="17462" y="4414"/>
                </a:cubicBezTo>
                <a:cubicBezTo>
                  <a:pt x="17446" y="4185"/>
                  <a:pt x="17478" y="4318"/>
                  <a:pt x="17603" y="4179"/>
                </a:cubicBezTo>
                <a:cubicBezTo>
                  <a:pt x="17832" y="3924"/>
                  <a:pt x="18176" y="4100"/>
                  <a:pt x="18404" y="3748"/>
                </a:cubicBezTo>
                <a:cubicBezTo>
                  <a:pt x="18623" y="3408"/>
                  <a:pt x="18719" y="3579"/>
                  <a:pt x="18976" y="3474"/>
                </a:cubicBezTo>
                <a:cubicBezTo>
                  <a:pt x="19132" y="3410"/>
                  <a:pt x="19315" y="3416"/>
                  <a:pt x="19459" y="3294"/>
                </a:cubicBezTo>
                <a:cubicBezTo>
                  <a:pt x="19583" y="3189"/>
                  <a:pt x="19779" y="3004"/>
                  <a:pt x="19921" y="2998"/>
                </a:cubicBezTo>
                <a:cubicBezTo>
                  <a:pt x="19863" y="3000"/>
                  <a:pt x="19502" y="2839"/>
                  <a:pt x="19465" y="2948"/>
                </a:cubicBezTo>
                <a:cubicBezTo>
                  <a:pt x="19535" y="2744"/>
                  <a:pt x="19616" y="2666"/>
                  <a:pt x="19736" y="2808"/>
                </a:cubicBezTo>
                <a:cubicBezTo>
                  <a:pt x="19799" y="2882"/>
                  <a:pt x="20006" y="3044"/>
                  <a:pt x="20008" y="2762"/>
                </a:cubicBezTo>
                <a:cubicBezTo>
                  <a:pt x="20009" y="2563"/>
                  <a:pt x="19750" y="2306"/>
                  <a:pt x="19652" y="2240"/>
                </a:cubicBezTo>
                <a:cubicBezTo>
                  <a:pt x="19743" y="2177"/>
                  <a:pt x="20272" y="2315"/>
                  <a:pt x="20290" y="2066"/>
                </a:cubicBezTo>
                <a:cubicBezTo>
                  <a:pt x="20246" y="2069"/>
                  <a:pt x="20204" y="2042"/>
                  <a:pt x="20162" y="2024"/>
                </a:cubicBezTo>
                <a:cubicBezTo>
                  <a:pt x="20196" y="2013"/>
                  <a:pt x="20461" y="2053"/>
                  <a:pt x="20445" y="1920"/>
                </a:cubicBezTo>
                <a:cubicBezTo>
                  <a:pt x="20434" y="1826"/>
                  <a:pt x="20316" y="1823"/>
                  <a:pt x="20426" y="1726"/>
                </a:cubicBezTo>
                <a:cubicBezTo>
                  <a:pt x="20595" y="1578"/>
                  <a:pt x="20285" y="1472"/>
                  <a:pt x="20249" y="1409"/>
                </a:cubicBezTo>
                <a:cubicBezTo>
                  <a:pt x="20284" y="1409"/>
                  <a:pt x="20770" y="1373"/>
                  <a:pt x="20655" y="1204"/>
                </a:cubicBezTo>
                <a:cubicBezTo>
                  <a:pt x="20592" y="1111"/>
                  <a:pt x="20396" y="1087"/>
                  <a:pt x="20327" y="1171"/>
                </a:cubicBezTo>
                <a:cubicBezTo>
                  <a:pt x="20607" y="695"/>
                  <a:pt x="21060" y="526"/>
                  <a:pt x="21446" y="368"/>
                </a:cubicBezTo>
                <a:cubicBezTo>
                  <a:pt x="21259" y="170"/>
                  <a:pt x="20985" y="351"/>
                  <a:pt x="20788" y="376"/>
                </a:cubicBezTo>
                <a:cubicBezTo>
                  <a:pt x="20727" y="384"/>
                  <a:pt x="20985" y="351"/>
                  <a:pt x="20788" y="376"/>
                </a:cubicBezTo>
                <a:close/>
                <a:moveTo>
                  <a:pt x="11250" y="17854"/>
                </a:moveTo>
                <a:cubicBezTo>
                  <a:pt x="11353" y="18121"/>
                  <a:pt x="10932" y="18149"/>
                  <a:pt x="10851" y="18066"/>
                </a:cubicBezTo>
                <a:cubicBezTo>
                  <a:pt x="10834" y="18070"/>
                  <a:pt x="10772" y="18267"/>
                  <a:pt x="10762" y="18295"/>
                </a:cubicBezTo>
                <a:lnTo>
                  <a:pt x="10744" y="18285"/>
                </a:lnTo>
                <a:lnTo>
                  <a:pt x="10730" y="18323"/>
                </a:lnTo>
                <a:cubicBezTo>
                  <a:pt x="10688" y="18281"/>
                  <a:pt x="10661" y="18211"/>
                  <a:pt x="10659" y="18127"/>
                </a:cubicBezTo>
                <a:cubicBezTo>
                  <a:pt x="10636" y="18121"/>
                  <a:pt x="10482" y="18109"/>
                  <a:pt x="10449" y="18132"/>
                </a:cubicBezTo>
                <a:cubicBezTo>
                  <a:pt x="10400" y="18160"/>
                  <a:pt x="10250" y="18170"/>
                  <a:pt x="10272" y="17972"/>
                </a:cubicBezTo>
                <a:cubicBezTo>
                  <a:pt x="10299" y="17723"/>
                  <a:pt x="10501" y="18031"/>
                  <a:pt x="10576" y="17927"/>
                </a:cubicBezTo>
                <a:cubicBezTo>
                  <a:pt x="10576" y="17927"/>
                  <a:pt x="10576" y="17927"/>
                  <a:pt x="10576" y="17927"/>
                </a:cubicBezTo>
                <a:cubicBezTo>
                  <a:pt x="10555" y="17927"/>
                  <a:pt x="10562" y="17743"/>
                  <a:pt x="10562" y="17738"/>
                </a:cubicBezTo>
                <a:lnTo>
                  <a:pt x="10412" y="17627"/>
                </a:lnTo>
                <a:cubicBezTo>
                  <a:pt x="10499" y="17485"/>
                  <a:pt x="10669" y="17484"/>
                  <a:pt x="10776" y="17484"/>
                </a:cubicBezTo>
                <a:cubicBezTo>
                  <a:pt x="10837" y="17484"/>
                  <a:pt x="10950" y="17493"/>
                  <a:pt x="11001" y="17546"/>
                </a:cubicBezTo>
                <a:cubicBezTo>
                  <a:pt x="11036" y="17584"/>
                  <a:pt x="11222" y="17784"/>
                  <a:pt x="11250" y="17854"/>
                </a:cubicBezTo>
                <a:cubicBezTo>
                  <a:pt x="11273" y="17915"/>
                  <a:pt x="11228" y="17798"/>
                  <a:pt x="11250" y="17854"/>
                </a:cubicBezTo>
                <a:close/>
              </a:path>
            </a:pathLst>
          </a:custGeom>
          <a:solidFill>
            <a:schemeClr val="tx1">
              <a:lumMod val="20000"/>
              <a:lumOff val="80000"/>
            </a:schemeClr>
          </a:solidFill>
          <a:ln w="12700" cap="flat">
            <a:noFill/>
            <a:miter lim="400000"/>
          </a:ln>
          <a:effectLst/>
        </p:spPr>
        <p:txBody>
          <a:bodyPr wrap="square" lIns="20097" tIns="20097" rIns="20097" bIns="20097" numCol="1" anchor="ctr">
            <a:noAutofit/>
          </a:bodyPr>
          <a:lstStyle/>
          <a:p>
            <a:pPr>
              <a:defRPr>
                <a:solidFill>
                  <a:srgbClr val="4C4C4C"/>
                </a:solidFill>
              </a:defRPr>
            </a:pPr>
            <a:endParaRPr sz="1899">
              <a:latin typeface="Nunito Sans ExtraLight" pitchFamily="2" charset="77"/>
            </a:endParaRPr>
          </a:p>
        </p:txBody>
      </p:sp>
      <p:sp>
        <p:nvSpPr>
          <p:cNvPr id="73" name="Shape 6504">
            <a:extLst>
              <a:ext uri="{FF2B5EF4-FFF2-40B4-BE49-F238E27FC236}">
                <a16:creationId xmlns:a16="http://schemas.microsoft.com/office/drawing/2014/main" id="{1EFEEA05-84A8-2149-907F-0AF995C365A5}"/>
              </a:ext>
            </a:extLst>
          </p:cNvPr>
          <p:cNvSpPr/>
          <p:nvPr/>
        </p:nvSpPr>
        <p:spPr>
          <a:xfrm>
            <a:off x="4461136" y="2845766"/>
            <a:ext cx="108000" cy="180000"/>
          </a:xfrm>
          <a:custGeom>
            <a:avLst/>
            <a:gdLst/>
            <a:ahLst/>
            <a:cxnLst>
              <a:cxn ang="0">
                <a:pos x="wd2" y="hd2"/>
              </a:cxn>
              <a:cxn ang="5400000">
                <a:pos x="wd2" y="hd2"/>
              </a:cxn>
              <a:cxn ang="10800000">
                <a:pos x="wd2" y="hd2"/>
              </a:cxn>
              <a:cxn ang="16200000">
                <a:pos x="wd2" y="hd2"/>
              </a:cxn>
            </a:cxnLst>
            <a:rect l="0" t="0" r="r" b="b"/>
            <a:pathLst>
              <a:path w="21600" h="21600" extrusionOk="0">
                <a:moveTo>
                  <a:pt x="10800" y="10616"/>
                </a:moveTo>
                <a:cubicBezTo>
                  <a:pt x="8171" y="10616"/>
                  <a:pt x="6041" y="9162"/>
                  <a:pt x="6041" y="7369"/>
                </a:cubicBezTo>
                <a:cubicBezTo>
                  <a:pt x="6041" y="5576"/>
                  <a:pt x="8171" y="4122"/>
                  <a:pt x="10800" y="4122"/>
                </a:cubicBezTo>
                <a:cubicBezTo>
                  <a:pt x="13429" y="4122"/>
                  <a:pt x="15559" y="5576"/>
                  <a:pt x="15559" y="7369"/>
                </a:cubicBezTo>
                <a:cubicBezTo>
                  <a:pt x="15559" y="9162"/>
                  <a:pt x="13429" y="10616"/>
                  <a:pt x="10800" y="10616"/>
                </a:cubicBezTo>
                <a:close/>
                <a:moveTo>
                  <a:pt x="10800" y="0"/>
                </a:moveTo>
                <a:cubicBezTo>
                  <a:pt x="4836" y="0"/>
                  <a:pt x="0" y="3299"/>
                  <a:pt x="0" y="7369"/>
                </a:cubicBezTo>
                <a:cubicBezTo>
                  <a:pt x="0" y="11439"/>
                  <a:pt x="2090" y="15742"/>
                  <a:pt x="10800" y="21600"/>
                </a:cubicBezTo>
                <a:cubicBezTo>
                  <a:pt x="19510" y="15742"/>
                  <a:pt x="21600" y="11439"/>
                  <a:pt x="21600" y="7369"/>
                </a:cubicBezTo>
                <a:cubicBezTo>
                  <a:pt x="21600" y="3299"/>
                  <a:pt x="16764" y="0"/>
                  <a:pt x="10800" y="0"/>
                </a:cubicBezTo>
                <a:close/>
              </a:path>
            </a:pathLst>
          </a:custGeom>
          <a:solidFill>
            <a:schemeClr val="tx2">
              <a:lumMod val="50000"/>
            </a:schemeClr>
          </a:solidFill>
          <a:ln w="12700" cap="flat">
            <a:noFill/>
            <a:miter lim="400000"/>
          </a:ln>
          <a:effectLst/>
        </p:spPr>
        <p:txBody>
          <a:bodyPr wrap="square" lIns="0" tIns="0" rIns="0" bIns="0" numCol="1" anchor="ctr">
            <a:noAutofit/>
          </a:bodyPr>
          <a:lstStyle/>
          <a:p>
            <a:pPr>
              <a:defRPr>
                <a:solidFill>
                  <a:srgbClr val="4C4C4C"/>
                </a:solidFill>
              </a:defRPr>
            </a:pPr>
            <a:endParaRPr sz="1899">
              <a:solidFill>
                <a:srgbClr val="FF0000"/>
              </a:solidFill>
              <a:latin typeface="Nunito Sans ExtraLight" pitchFamily="2" charset="77"/>
            </a:endParaRPr>
          </a:p>
        </p:txBody>
      </p:sp>
      <p:sp>
        <p:nvSpPr>
          <p:cNvPr id="74" name="Shape 6505">
            <a:extLst>
              <a:ext uri="{FF2B5EF4-FFF2-40B4-BE49-F238E27FC236}">
                <a16:creationId xmlns:a16="http://schemas.microsoft.com/office/drawing/2014/main" id="{586F4FC9-E49B-4A42-B329-3D758A2B1CE6}"/>
              </a:ext>
            </a:extLst>
          </p:cNvPr>
          <p:cNvSpPr/>
          <p:nvPr/>
        </p:nvSpPr>
        <p:spPr>
          <a:xfrm>
            <a:off x="6651547" y="3971130"/>
            <a:ext cx="108000" cy="180000"/>
          </a:xfrm>
          <a:custGeom>
            <a:avLst/>
            <a:gdLst/>
            <a:ahLst/>
            <a:cxnLst>
              <a:cxn ang="0">
                <a:pos x="wd2" y="hd2"/>
              </a:cxn>
              <a:cxn ang="5400000">
                <a:pos x="wd2" y="hd2"/>
              </a:cxn>
              <a:cxn ang="10800000">
                <a:pos x="wd2" y="hd2"/>
              </a:cxn>
              <a:cxn ang="16200000">
                <a:pos x="wd2" y="hd2"/>
              </a:cxn>
            </a:cxnLst>
            <a:rect l="0" t="0" r="r" b="b"/>
            <a:pathLst>
              <a:path w="21600" h="21600" extrusionOk="0">
                <a:moveTo>
                  <a:pt x="10800" y="10616"/>
                </a:moveTo>
                <a:cubicBezTo>
                  <a:pt x="8171" y="10616"/>
                  <a:pt x="6041" y="9162"/>
                  <a:pt x="6041" y="7369"/>
                </a:cubicBezTo>
                <a:cubicBezTo>
                  <a:pt x="6041" y="5576"/>
                  <a:pt x="8171" y="4122"/>
                  <a:pt x="10800" y="4122"/>
                </a:cubicBezTo>
                <a:cubicBezTo>
                  <a:pt x="13429" y="4122"/>
                  <a:pt x="15559" y="5576"/>
                  <a:pt x="15559" y="7369"/>
                </a:cubicBezTo>
                <a:cubicBezTo>
                  <a:pt x="15559" y="9162"/>
                  <a:pt x="13429" y="10616"/>
                  <a:pt x="10800" y="10616"/>
                </a:cubicBezTo>
                <a:close/>
                <a:moveTo>
                  <a:pt x="10800" y="0"/>
                </a:moveTo>
                <a:cubicBezTo>
                  <a:pt x="4836" y="0"/>
                  <a:pt x="0" y="3299"/>
                  <a:pt x="0" y="7369"/>
                </a:cubicBezTo>
                <a:cubicBezTo>
                  <a:pt x="0" y="11439"/>
                  <a:pt x="2090" y="15742"/>
                  <a:pt x="10800" y="21600"/>
                </a:cubicBezTo>
                <a:cubicBezTo>
                  <a:pt x="19510" y="15742"/>
                  <a:pt x="21600" y="11439"/>
                  <a:pt x="21600" y="7369"/>
                </a:cubicBezTo>
                <a:cubicBezTo>
                  <a:pt x="21600" y="3299"/>
                  <a:pt x="16764" y="0"/>
                  <a:pt x="10800" y="0"/>
                </a:cubicBezTo>
                <a:close/>
              </a:path>
            </a:pathLst>
          </a:custGeom>
          <a:solidFill>
            <a:schemeClr val="tx2">
              <a:lumMod val="50000"/>
            </a:schemeClr>
          </a:solidFill>
          <a:ln w="12700" cap="flat">
            <a:noFill/>
            <a:miter lim="400000"/>
          </a:ln>
          <a:effectLst/>
        </p:spPr>
        <p:txBody>
          <a:bodyPr wrap="square" lIns="0" tIns="0" rIns="0" bIns="0" numCol="1" anchor="ctr">
            <a:noAutofit/>
          </a:bodyPr>
          <a:lstStyle/>
          <a:p>
            <a:pPr>
              <a:defRPr>
                <a:solidFill>
                  <a:srgbClr val="4C4C4C"/>
                </a:solidFill>
              </a:defRPr>
            </a:pPr>
            <a:endParaRPr sz="1899">
              <a:latin typeface="Nunito Sans ExtraLight" pitchFamily="2" charset="77"/>
            </a:endParaRPr>
          </a:p>
        </p:txBody>
      </p:sp>
      <p:sp>
        <p:nvSpPr>
          <p:cNvPr id="75" name="Shape 6506">
            <a:extLst>
              <a:ext uri="{FF2B5EF4-FFF2-40B4-BE49-F238E27FC236}">
                <a16:creationId xmlns:a16="http://schemas.microsoft.com/office/drawing/2014/main" id="{692468A9-8159-E642-B409-FF8956152901}"/>
              </a:ext>
            </a:extLst>
          </p:cNvPr>
          <p:cNvSpPr/>
          <p:nvPr/>
        </p:nvSpPr>
        <p:spPr>
          <a:xfrm>
            <a:off x="2511157" y="2921152"/>
            <a:ext cx="108000" cy="180000"/>
          </a:xfrm>
          <a:custGeom>
            <a:avLst/>
            <a:gdLst/>
            <a:ahLst/>
            <a:cxnLst>
              <a:cxn ang="0">
                <a:pos x="wd2" y="hd2"/>
              </a:cxn>
              <a:cxn ang="5400000">
                <a:pos x="wd2" y="hd2"/>
              </a:cxn>
              <a:cxn ang="10800000">
                <a:pos x="wd2" y="hd2"/>
              </a:cxn>
              <a:cxn ang="16200000">
                <a:pos x="wd2" y="hd2"/>
              </a:cxn>
            </a:cxnLst>
            <a:rect l="0" t="0" r="r" b="b"/>
            <a:pathLst>
              <a:path w="21600" h="21600" extrusionOk="0">
                <a:moveTo>
                  <a:pt x="10800" y="10616"/>
                </a:moveTo>
                <a:cubicBezTo>
                  <a:pt x="8171" y="10616"/>
                  <a:pt x="6041" y="9162"/>
                  <a:pt x="6041" y="7369"/>
                </a:cubicBezTo>
                <a:cubicBezTo>
                  <a:pt x="6041" y="5576"/>
                  <a:pt x="8171" y="4122"/>
                  <a:pt x="10800" y="4122"/>
                </a:cubicBezTo>
                <a:cubicBezTo>
                  <a:pt x="13429" y="4122"/>
                  <a:pt x="15559" y="5576"/>
                  <a:pt x="15559" y="7369"/>
                </a:cubicBezTo>
                <a:cubicBezTo>
                  <a:pt x="15559" y="9162"/>
                  <a:pt x="13429" y="10616"/>
                  <a:pt x="10800" y="10616"/>
                </a:cubicBezTo>
                <a:close/>
                <a:moveTo>
                  <a:pt x="10800" y="0"/>
                </a:moveTo>
                <a:cubicBezTo>
                  <a:pt x="4836" y="0"/>
                  <a:pt x="0" y="3299"/>
                  <a:pt x="0" y="7369"/>
                </a:cubicBezTo>
                <a:cubicBezTo>
                  <a:pt x="0" y="11439"/>
                  <a:pt x="2090" y="15742"/>
                  <a:pt x="10800" y="21600"/>
                </a:cubicBezTo>
                <a:cubicBezTo>
                  <a:pt x="19510" y="15742"/>
                  <a:pt x="21600" y="11439"/>
                  <a:pt x="21600" y="7369"/>
                </a:cubicBezTo>
                <a:cubicBezTo>
                  <a:pt x="21600" y="3299"/>
                  <a:pt x="16764" y="0"/>
                  <a:pt x="10800" y="0"/>
                </a:cubicBez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9" tIns="17149" rIns="34299" bIns="17149" numCol="1" spcCol="0" rtlCol="0" fromWordArt="0" anchor="ctr" anchorCtr="0" forceAA="0" compatLnSpc="1">
            <a:prstTxWarp prst="textNoShape">
              <a:avLst/>
            </a:prstTxWarp>
            <a:noAutofit/>
          </a:bodyPr>
          <a:lstStyle/>
          <a:p>
            <a:pPr algn="ctr"/>
            <a:endParaRPr sz="675">
              <a:latin typeface="Nunito Sans ExtraLight" pitchFamily="2" charset="77"/>
            </a:endParaRPr>
          </a:p>
        </p:txBody>
      </p:sp>
      <p:sp>
        <p:nvSpPr>
          <p:cNvPr id="77" name="Shape 6507">
            <a:extLst>
              <a:ext uri="{FF2B5EF4-FFF2-40B4-BE49-F238E27FC236}">
                <a16:creationId xmlns:a16="http://schemas.microsoft.com/office/drawing/2014/main" id="{5ECCC8D5-ABD9-B14F-889B-8CA40D101248}"/>
              </a:ext>
            </a:extLst>
          </p:cNvPr>
          <p:cNvSpPr/>
          <p:nvPr/>
        </p:nvSpPr>
        <p:spPr>
          <a:xfrm>
            <a:off x="2506691" y="4371139"/>
            <a:ext cx="108000" cy="180000"/>
          </a:xfrm>
          <a:custGeom>
            <a:avLst/>
            <a:gdLst/>
            <a:ahLst/>
            <a:cxnLst>
              <a:cxn ang="0">
                <a:pos x="wd2" y="hd2"/>
              </a:cxn>
              <a:cxn ang="5400000">
                <a:pos x="wd2" y="hd2"/>
              </a:cxn>
              <a:cxn ang="10800000">
                <a:pos x="wd2" y="hd2"/>
              </a:cxn>
              <a:cxn ang="16200000">
                <a:pos x="wd2" y="hd2"/>
              </a:cxn>
            </a:cxnLst>
            <a:rect l="0" t="0" r="r" b="b"/>
            <a:pathLst>
              <a:path w="21600" h="21600" extrusionOk="0">
                <a:moveTo>
                  <a:pt x="10800" y="10616"/>
                </a:moveTo>
                <a:cubicBezTo>
                  <a:pt x="8171" y="10616"/>
                  <a:pt x="6041" y="9162"/>
                  <a:pt x="6041" y="7369"/>
                </a:cubicBezTo>
                <a:cubicBezTo>
                  <a:pt x="6041" y="5576"/>
                  <a:pt x="8171" y="4122"/>
                  <a:pt x="10800" y="4122"/>
                </a:cubicBezTo>
                <a:cubicBezTo>
                  <a:pt x="13429" y="4122"/>
                  <a:pt x="15559" y="5576"/>
                  <a:pt x="15559" y="7369"/>
                </a:cubicBezTo>
                <a:cubicBezTo>
                  <a:pt x="15559" y="9162"/>
                  <a:pt x="13429" y="10616"/>
                  <a:pt x="10800" y="10616"/>
                </a:cubicBezTo>
                <a:close/>
                <a:moveTo>
                  <a:pt x="10800" y="0"/>
                </a:moveTo>
                <a:cubicBezTo>
                  <a:pt x="4836" y="0"/>
                  <a:pt x="0" y="3299"/>
                  <a:pt x="0" y="7369"/>
                </a:cubicBezTo>
                <a:cubicBezTo>
                  <a:pt x="0" y="11439"/>
                  <a:pt x="2090" y="15742"/>
                  <a:pt x="10800" y="21600"/>
                </a:cubicBezTo>
                <a:cubicBezTo>
                  <a:pt x="19510" y="15742"/>
                  <a:pt x="21600" y="11439"/>
                  <a:pt x="21600" y="7369"/>
                </a:cubicBezTo>
                <a:cubicBezTo>
                  <a:pt x="21600" y="3299"/>
                  <a:pt x="16764" y="0"/>
                  <a:pt x="10800" y="0"/>
                </a:cubicBezTo>
                <a:close/>
              </a:path>
            </a:pathLst>
          </a:custGeom>
          <a:solidFill>
            <a:schemeClr val="tx2">
              <a:lumMod val="50000"/>
            </a:schemeClr>
          </a:solidFill>
          <a:ln w="12700" cap="flat">
            <a:noFill/>
            <a:miter lim="400000"/>
          </a:ln>
          <a:effectLst/>
        </p:spPr>
        <p:txBody>
          <a:bodyPr wrap="square" lIns="0" tIns="0" rIns="0" bIns="0" numCol="1" anchor="ctr">
            <a:noAutofit/>
          </a:bodyPr>
          <a:lstStyle/>
          <a:p>
            <a:pPr>
              <a:defRPr>
                <a:solidFill>
                  <a:srgbClr val="4C4C4C"/>
                </a:solidFill>
              </a:defRPr>
            </a:pPr>
            <a:endParaRPr sz="1899">
              <a:latin typeface="Nunito Sans ExtraLight" pitchFamily="2" charset="77"/>
            </a:endParaRPr>
          </a:p>
        </p:txBody>
      </p:sp>
      <p:sp>
        <p:nvSpPr>
          <p:cNvPr id="34" name="Shape 6504">
            <a:extLst>
              <a:ext uri="{FF2B5EF4-FFF2-40B4-BE49-F238E27FC236}">
                <a16:creationId xmlns:a16="http://schemas.microsoft.com/office/drawing/2014/main" id="{515A3E37-3D6A-EB44-9F81-CF68A31D518B}"/>
              </a:ext>
            </a:extLst>
          </p:cNvPr>
          <p:cNvSpPr/>
          <p:nvPr/>
        </p:nvSpPr>
        <p:spPr>
          <a:xfrm>
            <a:off x="4987032" y="4090820"/>
            <a:ext cx="108000" cy="180000"/>
          </a:xfrm>
          <a:custGeom>
            <a:avLst/>
            <a:gdLst/>
            <a:ahLst/>
            <a:cxnLst>
              <a:cxn ang="0">
                <a:pos x="wd2" y="hd2"/>
              </a:cxn>
              <a:cxn ang="5400000">
                <a:pos x="wd2" y="hd2"/>
              </a:cxn>
              <a:cxn ang="10800000">
                <a:pos x="wd2" y="hd2"/>
              </a:cxn>
              <a:cxn ang="16200000">
                <a:pos x="wd2" y="hd2"/>
              </a:cxn>
            </a:cxnLst>
            <a:rect l="0" t="0" r="r" b="b"/>
            <a:pathLst>
              <a:path w="21600" h="21600" extrusionOk="0">
                <a:moveTo>
                  <a:pt x="10800" y="10616"/>
                </a:moveTo>
                <a:cubicBezTo>
                  <a:pt x="8171" y="10616"/>
                  <a:pt x="6041" y="9162"/>
                  <a:pt x="6041" y="7369"/>
                </a:cubicBezTo>
                <a:cubicBezTo>
                  <a:pt x="6041" y="5576"/>
                  <a:pt x="8171" y="4122"/>
                  <a:pt x="10800" y="4122"/>
                </a:cubicBezTo>
                <a:cubicBezTo>
                  <a:pt x="13429" y="4122"/>
                  <a:pt x="15559" y="5576"/>
                  <a:pt x="15559" y="7369"/>
                </a:cubicBezTo>
                <a:cubicBezTo>
                  <a:pt x="15559" y="9162"/>
                  <a:pt x="13429" y="10616"/>
                  <a:pt x="10800" y="10616"/>
                </a:cubicBezTo>
                <a:close/>
                <a:moveTo>
                  <a:pt x="10800" y="0"/>
                </a:moveTo>
                <a:cubicBezTo>
                  <a:pt x="4836" y="0"/>
                  <a:pt x="0" y="3299"/>
                  <a:pt x="0" y="7369"/>
                </a:cubicBezTo>
                <a:cubicBezTo>
                  <a:pt x="0" y="11439"/>
                  <a:pt x="2090" y="15742"/>
                  <a:pt x="10800" y="21600"/>
                </a:cubicBezTo>
                <a:cubicBezTo>
                  <a:pt x="19510" y="15742"/>
                  <a:pt x="21600" y="11439"/>
                  <a:pt x="21600" y="7369"/>
                </a:cubicBezTo>
                <a:cubicBezTo>
                  <a:pt x="21600" y="3299"/>
                  <a:pt x="16764" y="0"/>
                  <a:pt x="10800" y="0"/>
                </a:cubicBezTo>
                <a:close/>
              </a:path>
            </a:pathLst>
          </a:custGeom>
          <a:solidFill>
            <a:schemeClr val="tx2">
              <a:lumMod val="50000"/>
            </a:schemeClr>
          </a:solidFill>
          <a:ln w="12700" cap="flat">
            <a:noFill/>
            <a:miter lim="400000"/>
          </a:ln>
          <a:effectLst/>
        </p:spPr>
        <p:txBody>
          <a:bodyPr wrap="square" lIns="0" tIns="0" rIns="0" bIns="0" numCol="1" anchor="ctr">
            <a:noAutofit/>
          </a:bodyPr>
          <a:lstStyle/>
          <a:p>
            <a:pPr>
              <a:defRPr>
                <a:solidFill>
                  <a:srgbClr val="4C4C4C"/>
                </a:solidFill>
              </a:defRPr>
            </a:pPr>
            <a:endParaRPr sz="1899">
              <a:latin typeface="Nunito Sans ExtraLight" pitchFamily="2" charset="77"/>
            </a:endParaRPr>
          </a:p>
        </p:txBody>
      </p:sp>
      <p:sp>
        <p:nvSpPr>
          <p:cNvPr id="35" name="Shape 6504">
            <a:extLst>
              <a:ext uri="{FF2B5EF4-FFF2-40B4-BE49-F238E27FC236}">
                <a16:creationId xmlns:a16="http://schemas.microsoft.com/office/drawing/2014/main" id="{2D14A28F-3A6A-D84E-AE0A-425C26D788AF}"/>
              </a:ext>
            </a:extLst>
          </p:cNvPr>
          <p:cNvSpPr/>
          <p:nvPr/>
        </p:nvSpPr>
        <p:spPr>
          <a:xfrm>
            <a:off x="4198760" y="2616606"/>
            <a:ext cx="108000" cy="180000"/>
          </a:xfrm>
          <a:custGeom>
            <a:avLst/>
            <a:gdLst/>
            <a:ahLst/>
            <a:cxnLst>
              <a:cxn ang="0">
                <a:pos x="wd2" y="hd2"/>
              </a:cxn>
              <a:cxn ang="5400000">
                <a:pos x="wd2" y="hd2"/>
              </a:cxn>
              <a:cxn ang="10800000">
                <a:pos x="wd2" y="hd2"/>
              </a:cxn>
              <a:cxn ang="16200000">
                <a:pos x="wd2" y="hd2"/>
              </a:cxn>
            </a:cxnLst>
            <a:rect l="0" t="0" r="r" b="b"/>
            <a:pathLst>
              <a:path w="21600" h="21600" extrusionOk="0">
                <a:moveTo>
                  <a:pt x="10800" y="10616"/>
                </a:moveTo>
                <a:cubicBezTo>
                  <a:pt x="8171" y="10616"/>
                  <a:pt x="6041" y="9162"/>
                  <a:pt x="6041" y="7369"/>
                </a:cubicBezTo>
                <a:cubicBezTo>
                  <a:pt x="6041" y="5576"/>
                  <a:pt x="8171" y="4122"/>
                  <a:pt x="10800" y="4122"/>
                </a:cubicBezTo>
                <a:cubicBezTo>
                  <a:pt x="13429" y="4122"/>
                  <a:pt x="15559" y="5576"/>
                  <a:pt x="15559" y="7369"/>
                </a:cubicBezTo>
                <a:cubicBezTo>
                  <a:pt x="15559" y="9162"/>
                  <a:pt x="13429" y="10616"/>
                  <a:pt x="10800" y="10616"/>
                </a:cubicBezTo>
                <a:close/>
                <a:moveTo>
                  <a:pt x="10800" y="0"/>
                </a:moveTo>
                <a:cubicBezTo>
                  <a:pt x="4836" y="0"/>
                  <a:pt x="0" y="3299"/>
                  <a:pt x="0" y="7369"/>
                </a:cubicBezTo>
                <a:cubicBezTo>
                  <a:pt x="0" y="11439"/>
                  <a:pt x="2090" y="15742"/>
                  <a:pt x="10800" y="21600"/>
                </a:cubicBezTo>
                <a:cubicBezTo>
                  <a:pt x="19510" y="15742"/>
                  <a:pt x="21600" y="11439"/>
                  <a:pt x="21600" y="7369"/>
                </a:cubicBezTo>
                <a:cubicBezTo>
                  <a:pt x="21600" y="3299"/>
                  <a:pt x="16764" y="0"/>
                  <a:pt x="10800" y="0"/>
                </a:cubicBezTo>
                <a:close/>
              </a:path>
            </a:pathLst>
          </a:custGeom>
          <a:solidFill>
            <a:schemeClr val="tx2">
              <a:lumMod val="50000"/>
            </a:schemeClr>
          </a:solidFill>
          <a:ln w="12700" cap="flat">
            <a:noFill/>
            <a:miter lim="400000"/>
          </a:ln>
          <a:effectLst/>
        </p:spPr>
        <p:txBody>
          <a:bodyPr wrap="square" lIns="0" tIns="0" rIns="0" bIns="0" numCol="1" anchor="ctr">
            <a:noAutofit/>
          </a:bodyPr>
          <a:lstStyle/>
          <a:p>
            <a:pPr>
              <a:defRPr>
                <a:solidFill>
                  <a:srgbClr val="4C4C4C"/>
                </a:solidFill>
              </a:defRPr>
            </a:pPr>
            <a:endParaRPr sz="1899">
              <a:latin typeface="Nunito Sans ExtraLight" pitchFamily="2" charset="77"/>
            </a:endParaRPr>
          </a:p>
        </p:txBody>
      </p:sp>
      <p:sp>
        <p:nvSpPr>
          <p:cNvPr id="36" name="Title 1">
            <a:extLst>
              <a:ext uri="{FF2B5EF4-FFF2-40B4-BE49-F238E27FC236}">
                <a16:creationId xmlns:a16="http://schemas.microsoft.com/office/drawing/2014/main" id="{E8203D4C-831F-4549-94C3-CAB50E983BDE}"/>
              </a:ext>
            </a:extLst>
          </p:cNvPr>
          <p:cNvSpPr txBox="1">
            <a:spLocks/>
          </p:cNvSpPr>
          <p:nvPr/>
        </p:nvSpPr>
        <p:spPr>
          <a:xfrm>
            <a:off x="357188" y="365126"/>
            <a:ext cx="8429132" cy="744887"/>
          </a:xfrm>
          <a:prstGeom prst="rect">
            <a:avLst/>
          </a:prstGeom>
        </p:spPr>
        <p:txBody>
          <a:bodyPr anchor="ctr"/>
          <a:lstStyle>
            <a:lvl1pPr algn="l" defTabSz="914400" rtl="0" eaLnBrk="1" latinLnBrk="0" hangingPunct="1">
              <a:lnSpc>
                <a:spcPct val="90000"/>
              </a:lnSpc>
              <a:spcBef>
                <a:spcPct val="0"/>
              </a:spcBef>
              <a:buNone/>
              <a:defRPr sz="2400" b="1" kern="1200">
                <a:solidFill>
                  <a:schemeClr val="tx1"/>
                </a:solidFill>
                <a:latin typeface="Arial" panose="020B0604020202020204" pitchFamily="34" charset="0"/>
                <a:ea typeface="+mj-ea"/>
                <a:cs typeface="Arial" panose="020B0604020202020204" pitchFamily="34" charset="0"/>
              </a:defRPr>
            </a:lvl1pPr>
          </a:lstStyle>
          <a:p>
            <a:r>
              <a:rPr lang="en-US"/>
              <a:t>Where we have operated </a:t>
            </a:r>
          </a:p>
        </p:txBody>
      </p:sp>
      <p:sp>
        <p:nvSpPr>
          <p:cNvPr id="37" name="Content Placeholder 2">
            <a:extLst>
              <a:ext uri="{FF2B5EF4-FFF2-40B4-BE49-F238E27FC236}">
                <a16:creationId xmlns:a16="http://schemas.microsoft.com/office/drawing/2014/main" id="{C8CF5E51-8026-174E-8BF7-98C5EB8BA7E7}"/>
              </a:ext>
            </a:extLst>
          </p:cNvPr>
          <p:cNvSpPr txBox="1">
            <a:spLocks/>
          </p:cNvSpPr>
          <p:nvPr/>
        </p:nvSpPr>
        <p:spPr>
          <a:xfrm>
            <a:off x="356941" y="1422165"/>
            <a:ext cx="8429625" cy="42545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4"/>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38" name="Content Placeholder 2">
            <a:extLst>
              <a:ext uri="{FF2B5EF4-FFF2-40B4-BE49-F238E27FC236}">
                <a16:creationId xmlns:a16="http://schemas.microsoft.com/office/drawing/2014/main" id="{ABA4DED2-B912-E14A-8DBF-2AB7BB68AC22}"/>
              </a:ext>
            </a:extLst>
          </p:cNvPr>
          <p:cNvSpPr txBox="1">
            <a:spLocks/>
          </p:cNvSpPr>
          <p:nvPr/>
        </p:nvSpPr>
        <p:spPr>
          <a:xfrm>
            <a:off x="356400" y="1422000"/>
            <a:ext cx="8429625" cy="42545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4"/>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500" b="1" dirty="0">
                <a:solidFill>
                  <a:schemeClr val="tx2"/>
                </a:solidFill>
              </a:rPr>
              <a:t>Here’s a world map illustrating where </a:t>
            </a:r>
            <a:r>
              <a:rPr lang="en-US" sz="1500" b="1" dirty="0">
                <a:solidFill>
                  <a:schemeClr val="tx2">
                    <a:lumMod val="50000"/>
                  </a:schemeClr>
                </a:solidFill>
              </a:rPr>
              <a:t>the leaders we interviewed and where our past members </a:t>
            </a:r>
            <a:r>
              <a:rPr lang="en-US" sz="1500" b="1" dirty="0">
                <a:solidFill>
                  <a:schemeClr val="tx2"/>
                </a:solidFill>
              </a:rPr>
              <a:t>are located.</a:t>
            </a:r>
            <a:endParaRPr lang="en-US" sz="1500" dirty="0">
              <a:solidFill>
                <a:schemeClr val="tx2"/>
              </a:solidFill>
            </a:endParaRPr>
          </a:p>
        </p:txBody>
      </p:sp>
      <p:sp>
        <p:nvSpPr>
          <p:cNvPr id="18" name="Rettangolo con angoli arrotondati 17">
            <a:extLst>
              <a:ext uri="{FF2B5EF4-FFF2-40B4-BE49-F238E27FC236}">
                <a16:creationId xmlns:a16="http://schemas.microsoft.com/office/drawing/2014/main" id="{63929725-0289-7046-AA1D-B7B052BC903A}"/>
              </a:ext>
            </a:extLst>
          </p:cNvPr>
          <p:cNvSpPr/>
          <p:nvPr/>
        </p:nvSpPr>
        <p:spPr>
          <a:xfrm>
            <a:off x="491250" y="4180820"/>
            <a:ext cx="1259210" cy="1212065"/>
          </a:xfrm>
          <a:prstGeom prst="roundRect">
            <a:avLst/>
          </a:prstGeom>
          <a:ln w="15875">
            <a:solidFill>
              <a:schemeClr val="tx2">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Arial" panose="020B0604020202020204" pitchFamily="34" charset="0"/>
                <a:cs typeface="Arial" panose="020B0604020202020204" pitchFamily="34" charset="0"/>
              </a:rPr>
              <a:t>We aim to </a:t>
            </a:r>
            <a:r>
              <a:rPr lang="en-US" sz="1000" b="1" dirty="0">
                <a:solidFill>
                  <a:schemeClr val="tx2"/>
                </a:solidFill>
                <a:latin typeface="Arial" panose="020B0604020202020204" pitchFamily="34" charset="0"/>
                <a:cs typeface="Arial" panose="020B0604020202020204" pitchFamily="34" charset="0"/>
              </a:rPr>
              <a:t>keep expanding </a:t>
            </a:r>
            <a:r>
              <a:rPr lang="en-US" sz="1000" dirty="0">
                <a:latin typeface="Arial" panose="020B0604020202020204" pitchFamily="34" charset="0"/>
                <a:cs typeface="Arial" panose="020B0604020202020204" pitchFamily="34" charset="0"/>
              </a:rPr>
              <a:t>our network and to make us known all over the world</a:t>
            </a:r>
          </a:p>
        </p:txBody>
      </p:sp>
      <p:sp>
        <p:nvSpPr>
          <p:cNvPr id="2" name="Shape 6504">
            <a:extLst>
              <a:ext uri="{FF2B5EF4-FFF2-40B4-BE49-F238E27FC236}">
                <a16:creationId xmlns:a16="http://schemas.microsoft.com/office/drawing/2014/main" id="{50DEA848-AB1C-5912-2BB5-34322EB43D91}"/>
              </a:ext>
            </a:extLst>
          </p:cNvPr>
          <p:cNvSpPr/>
          <p:nvPr/>
        </p:nvSpPr>
        <p:spPr>
          <a:xfrm>
            <a:off x="4285987" y="2767885"/>
            <a:ext cx="108000" cy="180000"/>
          </a:xfrm>
          <a:custGeom>
            <a:avLst/>
            <a:gdLst/>
            <a:ahLst/>
            <a:cxnLst>
              <a:cxn ang="0">
                <a:pos x="wd2" y="hd2"/>
              </a:cxn>
              <a:cxn ang="5400000">
                <a:pos x="wd2" y="hd2"/>
              </a:cxn>
              <a:cxn ang="10800000">
                <a:pos x="wd2" y="hd2"/>
              </a:cxn>
              <a:cxn ang="16200000">
                <a:pos x="wd2" y="hd2"/>
              </a:cxn>
            </a:cxnLst>
            <a:rect l="0" t="0" r="r" b="b"/>
            <a:pathLst>
              <a:path w="21600" h="21600" extrusionOk="0">
                <a:moveTo>
                  <a:pt x="10800" y="10616"/>
                </a:moveTo>
                <a:cubicBezTo>
                  <a:pt x="8171" y="10616"/>
                  <a:pt x="6041" y="9162"/>
                  <a:pt x="6041" y="7369"/>
                </a:cubicBezTo>
                <a:cubicBezTo>
                  <a:pt x="6041" y="5576"/>
                  <a:pt x="8171" y="4122"/>
                  <a:pt x="10800" y="4122"/>
                </a:cubicBezTo>
                <a:cubicBezTo>
                  <a:pt x="13429" y="4122"/>
                  <a:pt x="15559" y="5576"/>
                  <a:pt x="15559" y="7369"/>
                </a:cubicBezTo>
                <a:cubicBezTo>
                  <a:pt x="15559" y="9162"/>
                  <a:pt x="13429" y="10616"/>
                  <a:pt x="10800" y="10616"/>
                </a:cubicBezTo>
                <a:close/>
                <a:moveTo>
                  <a:pt x="10800" y="0"/>
                </a:moveTo>
                <a:cubicBezTo>
                  <a:pt x="4836" y="0"/>
                  <a:pt x="0" y="3299"/>
                  <a:pt x="0" y="7369"/>
                </a:cubicBezTo>
                <a:cubicBezTo>
                  <a:pt x="0" y="11439"/>
                  <a:pt x="2090" y="15742"/>
                  <a:pt x="10800" y="21600"/>
                </a:cubicBezTo>
                <a:cubicBezTo>
                  <a:pt x="19510" y="15742"/>
                  <a:pt x="21600" y="11439"/>
                  <a:pt x="21600" y="7369"/>
                </a:cubicBezTo>
                <a:cubicBezTo>
                  <a:pt x="21600" y="3299"/>
                  <a:pt x="16764" y="0"/>
                  <a:pt x="10800" y="0"/>
                </a:cubicBezTo>
                <a:close/>
              </a:path>
            </a:pathLst>
          </a:custGeom>
          <a:solidFill>
            <a:schemeClr val="tx2">
              <a:lumMod val="50000"/>
            </a:schemeClr>
          </a:solidFill>
          <a:ln w="12700" cap="flat">
            <a:noFill/>
            <a:miter lim="400000"/>
          </a:ln>
          <a:effectLst/>
        </p:spPr>
        <p:txBody>
          <a:bodyPr wrap="square" lIns="0" tIns="0" rIns="0" bIns="0" numCol="1" anchor="ctr">
            <a:noAutofit/>
          </a:bodyPr>
          <a:lstStyle/>
          <a:p>
            <a:pPr>
              <a:defRPr>
                <a:solidFill>
                  <a:srgbClr val="4C4C4C"/>
                </a:solidFill>
              </a:defRPr>
            </a:pPr>
            <a:endParaRPr sz="1899">
              <a:latin typeface="Nunito Sans ExtraLight" pitchFamily="2" charset="77"/>
            </a:endParaRPr>
          </a:p>
        </p:txBody>
      </p:sp>
      <p:sp>
        <p:nvSpPr>
          <p:cNvPr id="3" name="Shape 6504">
            <a:extLst>
              <a:ext uri="{FF2B5EF4-FFF2-40B4-BE49-F238E27FC236}">
                <a16:creationId xmlns:a16="http://schemas.microsoft.com/office/drawing/2014/main" id="{DD696148-1080-8E66-EB8F-8F1B672705B3}"/>
              </a:ext>
            </a:extLst>
          </p:cNvPr>
          <p:cNvSpPr/>
          <p:nvPr/>
        </p:nvSpPr>
        <p:spPr>
          <a:xfrm>
            <a:off x="4373562" y="2747181"/>
            <a:ext cx="108000" cy="180000"/>
          </a:xfrm>
          <a:custGeom>
            <a:avLst/>
            <a:gdLst/>
            <a:ahLst/>
            <a:cxnLst>
              <a:cxn ang="0">
                <a:pos x="wd2" y="hd2"/>
              </a:cxn>
              <a:cxn ang="5400000">
                <a:pos x="wd2" y="hd2"/>
              </a:cxn>
              <a:cxn ang="10800000">
                <a:pos x="wd2" y="hd2"/>
              </a:cxn>
              <a:cxn ang="16200000">
                <a:pos x="wd2" y="hd2"/>
              </a:cxn>
            </a:cxnLst>
            <a:rect l="0" t="0" r="r" b="b"/>
            <a:pathLst>
              <a:path w="21600" h="21600" extrusionOk="0">
                <a:moveTo>
                  <a:pt x="10800" y="10616"/>
                </a:moveTo>
                <a:cubicBezTo>
                  <a:pt x="8171" y="10616"/>
                  <a:pt x="6041" y="9162"/>
                  <a:pt x="6041" y="7369"/>
                </a:cubicBezTo>
                <a:cubicBezTo>
                  <a:pt x="6041" y="5576"/>
                  <a:pt x="8171" y="4122"/>
                  <a:pt x="10800" y="4122"/>
                </a:cubicBezTo>
                <a:cubicBezTo>
                  <a:pt x="13429" y="4122"/>
                  <a:pt x="15559" y="5576"/>
                  <a:pt x="15559" y="7369"/>
                </a:cubicBezTo>
                <a:cubicBezTo>
                  <a:pt x="15559" y="9162"/>
                  <a:pt x="13429" y="10616"/>
                  <a:pt x="10800" y="10616"/>
                </a:cubicBezTo>
                <a:close/>
                <a:moveTo>
                  <a:pt x="10800" y="0"/>
                </a:moveTo>
                <a:cubicBezTo>
                  <a:pt x="4836" y="0"/>
                  <a:pt x="0" y="3299"/>
                  <a:pt x="0" y="7369"/>
                </a:cubicBezTo>
                <a:cubicBezTo>
                  <a:pt x="0" y="11439"/>
                  <a:pt x="2090" y="15742"/>
                  <a:pt x="10800" y="21600"/>
                </a:cubicBezTo>
                <a:cubicBezTo>
                  <a:pt x="19510" y="15742"/>
                  <a:pt x="21600" y="11439"/>
                  <a:pt x="21600" y="7369"/>
                </a:cubicBezTo>
                <a:cubicBezTo>
                  <a:pt x="21600" y="3299"/>
                  <a:pt x="16764" y="0"/>
                  <a:pt x="10800" y="0"/>
                </a:cubicBezTo>
                <a:close/>
              </a:path>
            </a:pathLst>
          </a:custGeom>
          <a:solidFill>
            <a:schemeClr val="tx2">
              <a:lumMod val="50000"/>
            </a:schemeClr>
          </a:solidFill>
          <a:ln w="12700" cap="flat">
            <a:noFill/>
            <a:miter lim="400000"/>
          </a:ln>
          <a:effectLst/>
        </p:spPr>
        <p:txBody>
          <a:bodyPr wrap="square" lIns="0" tIns="0" rIns="0" bIns="0" numCol="1" anchor="ctr">
            <a:noAutofit/>
          </a:bodyPr>
          <a:lstStyle/>
          <a:p>
            <a:pPr>
              <a:defRPr>
                <a:solidFill>
                  <a:srgbClr val="4C4C4C"/>
                </a:solidFill>
              </a:defRPr>
            </a:pPr>
            <a:endParaRPr sz="1899">
              <a:latin typeface="Nunito Sans ExtraLight" pitchFamily="2" charset="77"/>
            </a:endParaRPr>
          </a:p>
        </p:txBody>
      </p:sp>
      <p:sp>
        <p:nvSpPr>
          <p:cNvPr id="4" name="Shape 6504">
            <a:extLst>
              <a:ext uri="{FF2B5EF4-FFF2-40B4-BE49-F238E27FC236}">
                <a16:creationId xmlns:a16="http://schemas.microsoft.com/office/drawing/2014/main" id="{DDF435D9-6958-276F-9760-954EFD0C33EE}"/>
              </a:ext>
            </a:extLst>
          </p:cNvPr>
          <p:cNvSpPr/>
          <p:nvPr/>
        </p:nvSpPr>
        <p:spPr>
          <a:xfrm>
            <a:off x="4178948" y="2960209"/>
            <a:ext cx="108000" cy="180000"/>
          </a:xfrm>
          <a:custGeom>
            <a:avLst/>
            <a:gdLst/>
            <a:ahLst/>
            <a:cxnLst>
              <a:cxn ang="0">
                <a:pos x="wd2" y="hd2"/>
              </a:cxn>
              <a:cxn ang="5400000">
                <a:pos x="wd2" y="hd2"/>
              </a:cxn>
              <a:cxn ang="10800000">
                <a:pos x="wd2" y="hd2"/>
              </a:cxn>
              <a:cxn ang="16200000">
                <a:pos x="wd2" y="hd2"/>
              </a:cxn>
            </a:cxnLst>
            <a:rect l="0" t="0" r="r" b="b"/>
            <a:pathLst>
              <a:path w="21600" h="21600" extrusionOk="0">
                <a:moveTo>
                  <a:pt x="10800" y="10616"/>
                </a:moveTo>
                <a:cubicBezTo>
                  <a:pt x="8171" y="10616"/>
                  <a:pt x="6041" y="9162"/>
                  <a:pt x="6041" y="7369"/>
                </a:cubicBezTo>
                <a:cubicBezTo>
                  <a:pt x="6041" y="5576"/>
                  <a:pt x="8171" y="4122"/>
                  <a:pt x="10800" y="4122"/>
                </a:cubicBezTo>
                <a:cubicBezTo>
                  <a:pt x="13429" y="4122"/>
                  <a:pt x="15559" y="5576"/>
                  <a:pt x="15559" y="7369"/>
                </a:cubicBezTo>
                <a:cubicBezTo>
                  <a:pt x="15559" y="9162"/>
                  <a:pt x="13429" y="10616"/>
                  <a:pt x="10800" y="10616"/>
                </a:cubicBezTo>
                <a:close/>
                <a:moveTo>
                  <a:pt x="10800" y="0"/>
                </a:moveTo>
                <a:cubicBezTo>
                  <a:pt x="4836" y="0"/>
                  <a:pt x="0" y="3299"/>
                  <a:pt x="0" y="7369"/>
                </a:cubicBezTo>
                <a:cubicBezTo>
                  <a:pt x="0" y="11439"/>
                  <a:pt x="2090" y="15742"/>
                  <a:pt x="10800" y="21600"/>
                </a:cubicBezTo>
                <a:cubicBezTo>
                  <a:pt x="19510" y="15742"/>
                  <a:pt x="21600" y="11439"/>
                  <a:pt x="21600" y="7369"/>
                </a:cubicBezTo>
                <a:cubicBezTo>
                  <a:pt x="21600" y="3299"/>
                  <a:pt x="16764" y="0"/>
                  <a:pt x="10800" y="0"/>
                </a:cubicBezTo>
                <a:close/>
              </a:path>
            </a:pathLst>
          </a:custGeom>
          <a:solidFill>
            <a:schemeClr val="tx2">
              <a:lumMod val="50000"/>
            </a:schemeClr>
          </a:solidFill>
          <a:ln w="12700" cap="flat">
            <a:noFill/>
            <a:miter lim="400000"/>
          </a:ln>
          <a:effectLst/>
        </p:spPr>
        <p:txBody>
          <a:bodyPr wrap="square" lIns="0" tIns="0" rIns="0" bIns="0" numCol="1" anchor="ctr">
            <a:noAutofit/>
          </a:bodyPr>
          <a:lstStyle/>
          <a:p>
            <a:pPr>
              <a:defRPr>
                <a:solidFill>
                  <a:srgbClr val="4C4C4C"/>
                </a:solidFill>
              </a:defRPr>
            </a:pPr>
            <a:endParaRPr sz="1899">
              <a:latin typeface="Nunito Sans ExtraLight" pitchFamily="2" charset="77"/>
            </a:endParaRPr>
          </a:p>
        </p:txBody>
      </p:sp>
      <p:sp>
        <p:nvSpPr>
          <p:cNvPr id="5" name="Shape 6504">
            <a:extLst>
              <a:ext uri="{FF2B5EF4-FFF2-40B4-BE49-F238E27FC236}">
                <a16:creationId xmlns:a16="http://schemas.microsoft.com/office/drawing/2014/main" id="{921EDE05-26C4-1713-ABD7-633E8DE57F9D}"/>
              </a:ext>
            </a:extLst>
          </p:cNvPr>
          <p:cNvSpPr/>
          <p:nvPr/>
        </p:nvSpPr>
        <p:spPr>
          <a:xfrm>
            <a:off x="4027626" y="2978796"/>
            <a:ext cx="108000" cy="180000"/>
          </a:xfrm>
          <a:custGeom>
            <a:avLst/>
            <a:gdLst/>
            <a:ahLst/>
            <a:cxnLst>
              <a:cxn ang="0">
                <a:pos x="wd2" y="hd2"/>
              </a:cxn>
              <a:cxn ang="5400000">
                <a:pos x="wd2" y="hd2"/>
              </a:cxn>
              <a:cxn ang="10800000">
                <a:pos x="wd2" y="hd2"/>
              </a:cxn>
              <a:cxn ang="16200000">
                <a:pos x="wd2" y="hd2"/>
              </a:cxn>
            </a:cxnLst>
            <a:rect l="0" t="0" r="r" b="b"/>
            <a:pathLst>
              <a:path w="21600" h="21600" extrusionOk="0">
                <a:moveTo>
                  <a:pt x="10800" y="10616"/>
                </a:moveTo>
                <a:cubicBezTo>
                  <a:pt x="8171" y="10616"/>
                  <a:pt x="6041" y="9162"/>
                  <a:pt x="6041" y="7369"/>
                </a:cubicBezTo>
                <a:cubicBezTo>
                  <a:pt x="6041" y="5576"/>
                  <a:pt x="8171" y="4122"/>
                  <a:pt x="10800" y="4122"/>
                </a:cubicBezTo>
                <a:cubicBezTo>
                  <a:pt x="13429" y="4122"/>
                  <a:pt x="15559" y="5576"/>
                  <a:pt x="15559" y="7369"/>
                </a:cubicBezTo>
                <a:cubicBezTo>
                  <a:pt x="15559" y="9162"/>
                  <a:pt x="13429" y="10616"/>
                  <a:pt x="10800" y="10616"/>
                </a:cubicBezTo>
                <a:close/>
                <a:moveTo>
                  <a:pt x="10800" y="0"/>
                </a:moveTo>
                <a:cubicBezTo>
                  <a:pt x="4836" y="0"/>
                  <a:pt x="0" y="3299"/>
                  <a:pt x="0" y="7369"/>
                </a:cubicBezTo>
                <a:cubicBezTo>
                  <a:pt x="0" y="11439"/>
                  <a:pt x="2090" y="15742"/>
                  <a:pt x="10800" y="21600"/>
                </a:cubicBezTo>
                <a:cubicBezTo>
                  <a:pt x="19510" y="15742"/>
                  <a:pt x="21600" y="11439"/>
                  <a:pt x="21600" y="7369"/>
                </a:cubicBezTo>
                <a:cubicBezTo>
                  <a:pt x="21600" y="3299"/>
                  <a:pt x="16764" y="0"/>
                  <a:pt x="10800" y="0"/>
                </a:cubicBezTo>
                <a:close/>
              </a:path>
            </a:pathLst>
          </a:custGeom>
          <a:solidFill>
            <a:schemeClr val="tx2">
              <a:lumMod val="50000"/>
            </a:schemeClr>
          </a:solidFill>
          <a:ln w="12700" cap="flat">
            <a:noFill/>
            <a:miter lim="400000"/>
          </a:ln>
          <a:effectLst/>
        </p:spPr>
        <p:txBody>
          <a:bodyPr wrap="square" lIns="0" tIns="0" rIns="0" bIns="0" numCol="1" anchor="ctr">
            <a:noAutofit/>
          </a:bodyPr>
          <a:lstStyle/>
          <a:p>
            <a:pPr>
              <a:defRPr>
                <a:solidFill>
                  <a:srgbClr val="4C4C4C"/>
                </a:solidFill>
              </a:defRPr>
            </a:pPr>
            <a:endParaRPr sz="1899">
              <a:latin typeface="Nunito Sans ExtraLight" pitchFamily="2" charset="77"/>
            </a:endParaRPr>
          </a:p>
        </p:txBody>
      </p:sp>
      <p:sp>
        <p:nvSpPr>
          <p:cNvPr id="6" name="Date Placeholder 3">
            <a:extLst>
              <a:ext uri="{FF2B5EF4-FFF2-40B4-BE49-F238E27FC236}">
                <a16:creationId xmlns:a16="http://schemas.microsoft.com/office/drawing/2014/main" id="{98E10103-EF47-AB26-500D-CB4677EE6748}"/>
              </a:ext>
            </a:extLst>
          </p:cNvPr>
          <p:cNvSpPr txBox="1">
            <a:spLocks/>
          </p:cNvSpPr>
          <p:nvPr/>
        </p:nvSpPr>
        <p:spPr>
          <a:xfrm>
            <a:off x="357680" y="6356351"/>
            <a:ext cx="20574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Arial" panose="020B0604020202020204" pitchFamily="34" charset="0"/>
                <a:cs typeface="Arial" panose="020B0604020202020204" pitchFamily="34" charset="0"/>
              </a:rPr>
              <a:t>November 20, 2024</a:t>
            </a:r>
          </a:p>
        </p:txBody>
      </p:sp>
    </p:spTree>
    <p:extLst>
      <p:ext uri="{BB962C8B-B14F-4D97-AF65-F5344CB8AC3E}">
        <p14:creationId xmlns:p14="http://schemas.microsoft.com/office/powerpoint/2010/main" val="37548031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24ED98-A274-4D93-94D9-6F332618A2C8}"/>
              </a:ext>
            </a:extLst>
          </p:cNvPr>
          <p:cNvSpPr txBox="1">
            <a:spLocks/>
          </p:cNvSpPr>
          <p:nvPr/>
        </p:nvSpPr>
        <p:spPr>
          <a:xfrm>
            <a:off x="357188" y="365126"/>
            <a:ext cx="8429132" cy="744887"/>
          </a:xfrm>
          <a:prstGeom prst="rect">
            <a:avLst/>
          </a:prstGeom>
        </p:spPr>
        <p:txBody>
          <a:bodyPr anchor="ctr"/>
          <a:lstStyle>
            <a:lvl1pPr algn="l" defTabSz="914400" rtl="0" eaLnBrk="1" latinLnBrk="0" hangingPunct="1">
              <a:lnSpc>
                <a:spcPct val="90000"/>
              </a:lnSpc>
              <a:spcBef>
                <a:spcPct val="0"/>
              </a:spcBef>
              <a:buNone/>
              <a:defRPr sz="2400" b="1" kern="1200">
                <a:solidFill>
                  <a:schemeClr val="tx1"/>
                </a:solidFill>
                <a:latin typeface="Arial" panose="020B0604020202020204" pitchFamily="34" charset="0"/>
                <a:ea typeface="+mj-ea"/>
                <a:cs typeface="Arial" panose="020B0604020202020204" pitchFamily="34" charset="0"/>
              </a:defRPr>
            </a:lvl1pPr>
          </a:lstStyle>
          <a:p>
            <a:r>
              <a:rPr lang="en-US"/>
              <a:t>Our network</a:t>
            </a:r>
          </a:p>
        </p:txBody>
      </p:sp>
      <p:pic>
        <p:nvPicPr>
          <p:cNvPr id="1028" name="Picture 4" descr="DUYU - Chi Siamo">
            <a:extLst>
              <a:ext uri="{FF2B5EF4-FFF2-40B4-BE49-F238E27FC236}">
                <a16:creationId xmlns:a16="http://schemas.microsoft.com/office/drawing/2014/main" id="{F2C9AE28-2CBB-4790-933D-7E9C6B1EA87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45936" y="4402890"/>
            <a:ext cx="1828800" cy="32836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nvestors On iSTOX Acquire Stake In Mapletree MERIT Fund As Digital  Securities For The First Time - INTLBM">
            <a:extLst>
              <a:ext uri="{FF2B5EF4-FFF2-40B4-BE49-F238E27FC236}">
                <a16:creationId xmlns:a16="http://schemas.microsoft.com/office/drawing/2014/main" id="{6A3E1FC4-98B3-4301-91F0-501D13F8B38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745874" y="3710591"/>
            <a:ext cx="1480555" cy="46078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Agicap's Competitors, Revenue, Number of Employees, Funding, Acquisitions &amp;  News - Owler Company Profile">
            <a:extLst>
              <a:ext uri="{FF2B5EF4-FFF2-40B4-BE49-F238E27FC236}">
                <a16:creationId xmlns:a16="http://schemas.microsoft.com/office/drawing/2014/main" id="{8FACF08A-FB37-4668-8033-D2121CBFDE9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408554" y="1945365"/>
            <a:ext cx="1828800" cy="35169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Lavora con noi">
            <a:extLst>
              <a:ext uri="{FF2B5EF4-FFF2-40B4-BE49-F238E27FC236}">
                <a16:creationId xmlns:a16="http://schemas.microsoft.com/office/drawing/2014/main" id="{9B33885E-F0C4-495C-A24E-4B0D1587BAFD}"/>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521000" y="3694634"/>
            <a:ext cx="1708508" cy="44421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9AC58F0B-78D6-41B7-83F3-821765C83A32}"/>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460854" y="5017126"/>
            <a:ext cx="1870209" cy="42545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N26 per Trading criptovalute [Guida completa 2021] - Criptovalute24">
            <a:extLst>
              <a:ext uri="{FF2B5EF4-FFF2-40B4-BE49-F238E27FC236}">
                <a16:creationId xmlns:a16="http://schemas.microsoft.com/office/drawing/2014/main" id="{EE7D81D6-C6A7-4B67-97C1-719D637584E1}"/>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l="21605" t="7701" r="17169" b="7826"/>
          <a:stretch/>
        </p:blipFill>
        <p:spPr bwMode="auto">
          <a:xfrm>
            <a:off x="7126492" y="4210324"/>
            <a:ext cx="928075" cy="690457"/>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L' identità visiva di due brand storici: Ibm VS Apple.">
            <a:extLst>
              <a:ext uri="{FF2B5EF4-FFF2-40B4-BE49-F238E27FC236}">
                <a16:creationId xmlns:a16="http://schemas.microsoft.com/office/drawing/2014/main" id="{4D043900-667C-45E0-9409-B9E27A123A44}"/>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899605" y="3083525"/>
            <a:ext cx="1135687" cy="494788"/>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dpixel | Piattaforma di Corporate Innovation &amp; Startup">
            <a:extLst>
              <a:ext uri="{FF2B5EF4-FFF2-40B4-BE49-F238E27FC236}">
                <a16:creationId xmlns:a16="http://schemas.microsoft.com/office/drawing/2014/main" id="{D412ABF8-1D28-4895-AE9E-1FE3E852021E}"/>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510162" y="3008749"/>
            <a:ext cx="1770716" cy="665828"/>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Borsa Italiana: sito ufficiale della Borsa di Milano - Borsa Italiana">
            <a:extLst>
              <a:ext uri="{FF2B5EF4-FFF2-40B4-BE49-F238E27FC236}">
                <a16:creationId xmlns:a16="http://schemas.microsoft.com/office/drawing/2014/main" id="{12AF62B0-62EC-4179-9008-EDCC979E4074}"/>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571752" y="2576138"/>
            <a:ext cx="1828800" cy="417768"/>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a:extLst>
              <a:ext uri="{FF2B5EF4-FFF2-40B4-BE49-F238E27FC236}">
                <a16:creationId xmlns:a16="http://schemas.microsoft.com/office/drawing/2014/main" id="{E1EB20D8-61ED-4830-86D9-639A7E741017}"/>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545936" y="2003549"/>
            <a:ext cx="1828800" cy="288036"/>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Homepage - Assofintech">
            <a:extLst>
              <a:ext uri="{FF2B5EF4-FFF2-40B4-BE49-F238E27FC236}">
                <a16:creationId xmlns:a16="http://schemas.microsoft.com/office/drawing/2014/main" id="{DBF863F9-A599-408B-8B53-07576BF87093}"/>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88044" y="1751995"/>
            <a:ext cx="1828800" cy="791143"/>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descr="Nasce IIA, l'Italian Insurtech Association">
            <a:extLst>
              <a:ext uri="{FF2B5EF4-FFF2-40B4-BE49-F238E27FC236}">
                <a16:creationId xmlns:a16="http://schemas.microsoft.com/office/drawing/2014/main" id="{71F507D0-2A9F-4A1B-B1C0-654F129BCAA1}"/>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65728" y="3578313"/>
            <a:ext cx="1568652" cy="676853"/>
          </a:xfrm>
          <a:prstGeom prst="rect">
            <a:avLst/>
          </a:prstGeom>
          <a:noFill/>
          <a:extLst>
            <a:ext uri="{909E8E84-426E-40DD-AFC4-6F175D3DCCD1}">
              <a14:hiddenFill xmlns:a14="http://schemas.microsoft.com/office/drawing/2010/main">
                <a:solidFill>
                  <a:srgbClr val="FFFFFF"/>
                </a:solidFill>
              </a14:hiddenFill>
            </a:ext>
          </a:extLst>
        </p:spPr>
      </p:pic>
      <p:sp>
        <p:nvSpPr>
          <p:cNvPr id="30" name="Content Placeholder 2">
            <a:extLst>
              <a:ext uri="{FF2B5EF4-FFF2-40B4-BE49-F238E27FC236}">
                <a16:creationId xmlns:a16="http://schemas.microsoft.com/office/drawing/2014/main" id="{35773874-A8F7-4DDA-BBEB-9BD4BFF8292A}"/>
              </a:ext>
            </a:extLst>
          </p:cNvPr>
          <p:cNvSpPr txBox="1">
            <a:spLocks/>
          </p:cNvSpPr>
          <p:nvPr/>
        </p:nvSpPr>
        <p:spPr>
          <a:xfrm>
            <a:off x="356939" y="1266190"/>
            <a:ext cx="8429625" cy="42545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accent4"/>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500" b="1" dirty="0">
                <a:solidFill>
                  <a:schemeClr val="tx2"/>
                </a:solidFill>
              </a:rPr>
              <a:t>BS Fintech Society has built a </a:t>
            </a:r>
            <a:r>
              <a:rPr lang="en-US" sz="1500" b="1" dirty="0">
                <a:solidFill>
                  <a:schemeClr val="bg1">
                    <a:lumMod val="60000"/>
                    <a:lumOff val="40000"/>
                  </a:schemeClr>
                </a:solidFill>
              </a:rPr>
              <a:t>strong and wide network of future leaders around the world and in different industries</a:t>
            </a:r>
            <a:r>
              <a:rPr lang="en-US" sz="1500" b="1" dirty="0">
                <a:solidFill>
                  <a:schemeClr val="tx2"/>
                </a:solidFill>
              </a:rPr>
              <a:t>: Fintech companies, Consulting, and Investment Banking.</a:t>
            </a:r>
            <a:endParaRPr lang="en-US" sz="1500" dirty="0">
              <a:solidFill>
                <a:schemeClr val="tx2"/>
              </a:solidFill>
            </a:endParaRPr>
          </a:p>
        </p:txBody>
      </p:sp>
      <p:pic>
        <p:nvPicPr>
          <p:cNvPr id="1026" name="Picture 2" descr="Mastercard IT | Soluzioni di Pagamento digitale ed elettronico">
            <a:extLst>
              <a:ext uri="{FF2B5EF4-FFF2-40B4-BE49-F238E27FC236}">
                <a16:creationId xmlns:a16="http://schemas.microsoft.com/office/drawing/2014/main" id="{6E38091E-F456-4773-80CB-BF5E7938C2ED}"/>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2742136" y="4307208"/>
            <a:ext cx="1307206" cy="541557"/>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a:extLst>
              <a:ext uri="{FF2B5EF4-FFF2-40B4-BE49-F238E27FC236}">
                <a16:creationId xmlns:a16="http://schemas.microsoft.com/office/drawing/2014/main" id="{BE7EACBB-ABFF-475B-8883-F27631E71B8E}"/>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2460854" y="2643483"/>
            <a:ext cx="1828800" cy="342045"/>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descr="Cryptoclan.it | Scopri di più sulla criptovaluta">
            <a:extLst>
              <a:ext uri="{FF2B5EF4-FFF2-40B4-BE49-F238E27FC236}">
                <a16:creationId xmlns:a16="http://schemas.microsoft.com/office/drawing/2014/main" id="{EA42139C-DB0E-443C-B660-E83FF8BED2C0}"/>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408311" y="2485800"/>
            <a:ext cx="1828800" cy="511182"/>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Confindustria Verona - VETRINA delle IMPRESE">
            <a:extLst>
              <a:ext uri="{FF2B5EF4-FFF2-40B4-BE49-F238E27FC236}">
                <a16:creationId xmlns:a16="http://schemas.microsoft.com/office/drawing/2014/main" id="{8356C3CB-02B3-42C7-8AFF-EC4DC965328D}"/>
              </a:ext>
            </a:extLst>
          </p:cNvPr>
          <p:cNvPicPr>
            <a:picLocks noChangeAspect="1" noChangeArrowheads="1"/>
          </p:cNvPicPr>
          <p:nvPr/>
        </p:nvPicPr>
        <p:blipFill rotWithShape="1">
          <a:blip r:embed="rId17" cstate="email">
            <a:extLst>
              <a:ext uri="{28A0092B-C50C-407E-A947-70E740481C1C}">
                <a14:useLocalDpi xmlns:a14="http://schemas.microsoft.com/office/drawing/2010/main"/>
              </a:ext>
            </a:extLst>
          </a:blip>
          <a:srcRect t="7633"/>
          <a:stretch/>
        </p:blipFill>
        <p:spPr bwMode="auto">
          <a:xfrm>
            <a:off x="6553049" y="2331472"/>
            <a:ext cx="1828800" cy="670020"/>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AC82846F-EC63-459B-A2EA-7BAE256F1BA6}"/>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598044" y="4377505"/>
            <a:ext cx="1582636" cy="356093"/>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descr="Credimi Finanziamenti per imprese">
            <a:extLst>
              <a:ext uri="{FF2B5EF4-FFF2-40B4-BE49-F238E27FC236}">
                <a16:creationId xmlns:a16="http://schemas.microsoft.com/office/drawing/2014/main" id="{A9AC6B41-DC7C-41F4-B551-EBB9E783B0AD}"/>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441205" y="3219456"/>
            <a:ext cx="1720810" cy="26242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Strategia di Brand - UniCredit">
            <a:extLst>
              <a:ext uri="{FF2B5EF4-FFF2-40B4-BE49-F238E27FC236}">
                <a16:creationId xmlns:a16="http://schemas.microsoft.com/office/drawing/2014/main" id="{7501559D-46BE-4A03-946B-70AC04AA9AB1}"/>
              </a:ext>
            </a:extLst>
          </p:cNvPr>
          <p:cNvPicPr>
            <a:picLocks noChangeAspect="1" noChangeArrowheads="1"/>
          </p:cNvPicPr>
          <p:nvPr/>
        </p:nvPicPr>
        <p:blipFill rotWithShape="1">
          <a:blip r:embed="rId20" cstate="email">
            <a:extLst>
              <a:ext uri="{28A0092B-C50C-407E-A947-70E740481C1C}">
                <a14:useLocalDpi xmlns:a14="http://schemas.microsoft.com/office/drawing/2010/main"/>
              </a:ext>
            </a:extLst>
          </a:blip>
          <a:srcRect l="4908" t="22969" r="12340" b="34159"/>
          <a:stretch/>
        </p:blipFill>
        <p:spPr bwMode="auto">
          <a:xfrm>
            <a:off x="4669327" y="5011783"/>
            <a:ext cx="1828800" cy="40881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Perella Weinberg Partners - Training You">
            <a:extLst>
              <a:ext uri="{FF2B5EF4-FFF2-40B4-BE49-F238E27FC236}">
                <a16:creationId xmlns:a16="http://schemas.microsoft.com/office/drawing/2014/main" id="{EBF77847-1857-A687-958F-CEC6349F950F}"/>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867315" y="4993299"/>
            <a:ext cx="1501129" cy="53227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BNP Paribas | CE Media">
            <a:extLst>
              <a:ext uri="{FF2B5EF4-FFF2-40B4-BE49-F238E27FC236}">
                <a16:creationId xmlns:a16="http://schemas.microsoft.com/office/drawing/2014/main" id="{38641254-792C-BD07-A68B-E7F3D208674C}"/>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637359" y="3706392"/>
            <a:ext cx="1906339" cy="49478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a:extLst>
              <a:ext uri="{FF2B5EF4-FFF2-40B4-BE49-F238E27FC236}">
                <a16:creationId xmlns:a16="http://schemas.microsoft.com/office/drawing/2014/main" id="{00E54047-21E4-F238-A42A-E3E3A11BC553}"/>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514100" y="3142332"/>
            <a:ext cx="1944102" cy="50324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4" descr="Strategy&amp; | Consultancy Middle East">
            <a:extLst>
              <a:ext uri="{FF2B5EF4-FFF2-40B4-BE49-F238E27FC236}">
                <a16:creationId xmlns:a16="http://schemas.microsoft.com/office/drawing/2014/main" id="{53011B2C-6E25-8E89-4979-0873FE1B8DC4}"/>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329705" y="1502717"/>
            <a:ext cx="2275486" cy="130027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IBAN UBS Switzerland - Qual è l'IBAN per UBS Switzerland in Svizzera?">
            <a:extLst>
              <a:ext uri="{FF2B5EF4-FFF2-40B4-BE49-F238E27FC236}">
                <a16:creationId xmlns:a16="http://schemas.microsoft.com/office/drawing/2014/main" id="{3EA69517-A897-0F37-2E2F-81266F6B4AD8}"/>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98043" y="5011783"/>
            <a:ext cx="1417347" cy="513789"/>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3">
            <a:extLst>
              <a:ext uri="{FF2B5EF4-FFF2-40B4-BE49-F238E27FC236}">
                <a16:creationId xmlns:a16="http://schemas.microsoft.com/office/drawing/2014/main" id="{4278692E-2461-502C-C8B5-EF74039E1AE9}"/>
              </a:ext>
            </a:extLst>
          </p:cNvPr>
          <p:cNvSpPr txBox="1">
            <a:spLocks/>
          </p:cNvSpPr>
          <p:nvPr/>
        </p:nvSpPr>
        <p:spPr>
          <a:xfrm>
            <a:off x="357680" y="6356351"/>
            <a:ext cx="20574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Arial" panose="020B0604020202020204" pitchFamily="34" charset="0"/>
                <a:cs typeface="Arial" panose="020B0604020202020204" pitchFamily="34" charset="0"/>
              </a:rPr>
              <a:t>November 20, 2024</a:t>
            </a:r>
          </a:p>
        </p:txBody>
      </p:sp>
    </p:spTree>
    <p:extLst>
      <p:ext uri="{BB962C8B-B14F-4D97-AF65-F5344CB8AC3E}">
        <p14:creationId xmlns:p14="http://schemas.microsoft.com/office/powerpoint/2010/main" val="19310381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SENTATIONID" val="aab47d78-888e-4a09-bb2f-d7c4326bbcb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rsonalizzati 3">
      <a:dk1>
        <a:srgbClr val="304590"/>
      </a:dk1>
      <a:lt1>
        <a:srgbClr val="000000"/>
      </a:lt1>
      <a:dk2>
        <a:srgbClr val="FFFFFF"/>
      </a:dk2>
      <a:lt2>
        <a:srgbClr val="89CEE6"/>
      </a:lt2>
      <a:accent1>
        <a:srgbClr val="FFFFFF"/>
      </a:accent1>
      <a:accent2>
        <a:srgbClr val="DBEDDF"/>
      </a:accent2>
      <a:accent3>
        <a:srgbClr val="45AC50"/>
      </a:accent3>
      <a:accent4>
        <a:srgbClr val="1E617A"/>
      </a:accent4>
      <a:accent5>
        <a:srgbClr val="7F7F7F"/>
      </a:accent5>
      <a:accent6>
        <a:srgbClr val="000000"/>
      </a:accent6>
      <a:hlink>
        <a:srgbClr val="BBB8B8"/>
      </a:hlink>
      <a:folHlink>
        <a:srgbClr val="C490AA"/>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SFS_Theme">
  <a:themeElements>
    <a:clrScheme name="Personalizzati 3">
      <a:dk1>
        <a:srgbClr val="304590"/>
      </a:dk1>
      <a:lt1>
        <a:srgbClr val="000000"/>
      </a:lt1>
      <a:dk2>
        <a:srgbClr val="FFFFFF"/>
      </a:dk2>
      <a:lt2>
        <a:srgbClr val="89CEE6"/>
      </a:lt2>
      <a:accent1>
        <a:srgbClr val="FFFFFF"/>
      </a:accent1>
      <a:accent2>
        <a:srgbClr val="DBEDDF"/>
      </a:accent2>
      <a:accent3>
        <a:srgbClr val="45AC50"/>
      </a:accent3>
      <a:accent4>
        <a:srgbClr val="1E617A"/>
      </a:accent4>
      <a:accent5>
        <a:srgbClr val="7F7F7F"/>
      </a:accent5>
      <a:accent6>
        <a:srgbClr val="000000"/>
      </a:accent6>
      <a:hlink>
        <a:srgbClr val="BBB8B8"/>
      </a:hlink>
      <a:folHlink>
        <a:srgbClr val="C490AA"/>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SFS_Theme" id="{AA93B041-A8C8-4A9D-BE73-DB45CA1BE7A0}" vid="{668072F6-1734-4289-B87D-A74D0E885A1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22268C1B9577E946BB381D959C90A629" ma:contentTypeVersion="12" ma:contentTypeDescription="Creare un nuovo documento." ma:contentTypeScope="" ma:versionID="994c3b73d550f8cecfb7d2694ae3d679">
  <xsd:schema xmlns:xsd="http://www.w3.org/2001/XMLSchema" xmlns:xs="http://www.w3.org/2001/XMLSchema" xmlns:p="http://schemas.microsoft.com/office/2006/metadata/properties" xmlns:ns2="83ae14b5-55ec-48fa-a351-741ff24e20b3" xmlns:ns3="88f2734b-0083-4955-8175-ac4ee67c406b" targetNamespace="http://schemas.microsoft.com/office/2006/metadata/properties" ma:root="true" ma:fieldsID="db91bbc3f1199fc15fc36ba3c54c9e27" ns2:_="" ns3:_="">
    <xsd:import namespace="83ae14b5-55ec-48fa-a351-741ff24e20b3"/>
    <xsd:import namespace="88f2734b-0083-4955-8175-ac4ee67c406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ae14b5-55ec-48fa-a351-741ff24e20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8f2734b-0083-4955-8175-ac4ee67c406b" elementFormDefault="qualified">
    <xsd:import namespace="http://schemas.microsoft.com/office/2006/documentManagement/types"/>
    <xsd:import namespace="http://schemas.microsoft.com/office/infopath/2007/PartnerControls"/>
    <xsd:element name="SharedWithUsers" ma:index="17"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Condiviso con dettagl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1 6 " ? > < A r r a y O f P r o b l e m   x m l n s : x s d = " h t t p : / / w w w . w 3 . o r g / 2 0 0 1 / X M L S c h e m a "   x m l n s : x s i = " h t t p : / / w w w . w 3 . o r g / 2 0 0 1 / X M L S c h e m a - i n s t a n c e " / > 
</file>

<file path=customXml/itemProps1.xml><?xml version="1.0" encoding="utf-8"?>
<ds:datastoreItem xmlns:ds="http://schemas.openxmlformats.org/officeDocument/2006/customXml" ds:itemID="{1E1155E3-F01B-430F-9DF5-91C7558C7EC5}">
  <ds:schemaRefs>
    <ds:schemaRef ds:uri="http://schemas.microsoft.com/sharepoint/v3/contenttype/forms"/>
  </ds:schemaRefs>
</ds:datastoreItem>
</file>

<file path=customXml/itemProps2.xml><?xml version="1.0" encoding="utf-8"?>
<ds:datastoreItem xmlns:ds="http://schemas.openxmlformats.org/officeDocument/2006/customXml" ds:itemID="{94E218BB-2277-46EB-9676-9417315A49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ae14b5-55ec-48fa-a351-741ff24e20b3"/>
    <ds:schemaRef ds:uri="88f2734b-0083-4955-8175-ac4ee67c4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3A4D316-F2D7-4320-BC7B-78BD3C851082}">
  <ds:schemaRefs>
    <ds:schemaRef ds:uri="83ae14b5-55ec-48fa-a351-741ff24e20b3"/>
    <ds:schemaRef ds:uri="88f2734b-0083-4955-8175-ac4ee67c406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7D3386BE-8EA7-4B8D-B06A-AF182705D0A5}">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JEME</Template>
  <TotalTime>16684</TotalTime>
  <Words>2216</Words>
  <Application>Microsoft Macintosh PowerPoint</Application>
  <PresentationFormat>On-screen Show (4:3)</PresentationFormat>
  <Paragraphs>326</Paragraphs>
  <Slides>24</Slides>
  <Notes>10</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7" baseType="lpstr">
      <vt:lpstr>-apple-system</vt:lpstr>
      <vt:lpstr>-webkit-standard</vt:lpstr>
      <vt:lpstr>Arial</vt:lpstr>
      <vt:lpstr>Arial MT</vt:lpstr>
      <vt:lpstr>BODONI 72 BOOK</vt:lpstr>
      <vt:lpstr>Calibri</vt:lpstr>
      <vt:lpstr>Helvetica</vt:lpstr>
      <vt:lpstr>Nunito Sans ExtraLight</vt:lpstr>
      <vt:lpstr>Roboto</vt:lpstr>
      <vt:lpstr>Wingdings</vt:lpstr>
      <vt:lpstr>office theme</vt:lpstr>
      <vt:lpstr>BSFS_Theme</vt:lpstr>
      <vt:lpstr>think-cell Slide</vt:lpstr>
      <vt:lpstr>PowerPoint Presentation</vt:lpstr>
      <vt:lpstr>About Bocconi Students Fintech Society</vt:lpstr>
      <vt:lpstr>About Bocconi Students Fintech Society</vt:lpstr>
      <vt:lpstr>What we do</vt:lpstr>
      <vt:lpstr>Our Past Events</vt:lpstr>
      <vt:lpstr>New Events</vt:lpstr>
      <vt:lpstr>Interviews: our Coffee Chats</vt:lpstr>
      <vt:lpstr>PowerPoint Presentation</vt:lpstr>
      <vt:lpstr>PowerPoint Presentation</vt:lpstr>
      <vt:lpstr>PowerPoint Presentation</vt:lpstr>
      <vt:lpstr>About Public Relations</vt:lpstr>
      <vt:lpstr>About Operations</vt:lpstr>
      <vt:lpstr>About Global Outreach</vt:lpstr>
      <vt:lpstr>Reactivate our partnerships</vt:lpstr>
      <vt:lpstr>PowerPoint Presentation</vt:lpstr>
      <vt:lpstr>M&amp;A: Secureworks acquired by Sophos</vt:lpstr>
      <vt:lpstr>M&amp;A: 2024 Fintech M&amp;A Trends Update</vt:lpstr>
      <vt:lpstr>PowerPoint Presentation</vt:lpstr>
      <vt:lpstr>Generalist: Digital Banks vs Traditional Banks</vt:lpstr>
      <vt:lpstr>Generalist: AI In Investment Decisions: Pros and Cons</vt:lpstr>
      <vt:lpstr>PowerPoint Presentation</vt:lpstr>
      <vt:lpstr>Data Analysis : Machine learning for credit card fraud detection</vt:lpstr>
      <vt:lpstr>Data Analysis : Machine learning for credit scor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ssandro Paladino</dc:creator>
  <cp:lastModifiedBy>GUILLAUME, LOIC ABAZ</cp:lastModifiedBy>
  <cp:revision>18</cp:revision>
  <cp:lastPrinted>2021-09-08T16:25:56Z</cp:lastPrinted>
  <dcterms:created xsi:type="dcterms:W3CDTF">2021-03-06T15:40:31Z</dcterms:created>
  <dcterms:modified xsi:type="dcterms:W3CDTF">2024-11-21T07:3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268C1B9577E946BB381D959C90A629</vt:lpwstr>
  </property>
</Properties>
</file>